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3" r:id="rId5"/>
    <p:sldMasterId id="2147483715" r:id="rId6"/>
  </p:sldMasterIdLst>
  <p:notesMasterIdLst>
    <p:notesMasterId r:id="rId27"/>
  </p:notesMasterIdLst>
  <p:handoutMasterIdLst>
    <p:handoutMasterId r:id="rId28"/>
  </p:handoutMasterIdLst>
  <p:sldIdLst>
    <p:sldId id="2348" r:id="rId7"/>
    <p:sldId id="2147374702" r:id="rId8"/>
    <p:sldId id="2147374705" r:id="rId9"/>
    <p:sldId id="2147374734" r:id="rId10"/>
    <p:sldId id="2147374707" r:id="rId11"/>
    <p:sldId id="2147374720" r:id="rId12"/>
    <p:sldId id="2147374708" r:id="rId13"/>
    <p:sldId id="2147374721" r:id="rId14"/>
    <p:sldId id="2147374710" r:id="rId15"/>
    <p:sldId id="2147374711" r:id="rId16"/>
    <p:sldId id="2147374723" r:id="rId17"/>
    <p:sldId id="2147374713" r:id="rId18"/>
    <p:sldId id="2147374714" r:id="rId19"/>
    <p:sldId id="2147374715" r:id="rId20"/>
    <p:sldId id="2147374735" r:id="rId21"/>
    <p:sldId id="2147374731" r:id="rId22"/>
    <p:sldId id="2147374716" r:id="rId23"/>
    <p:sldId id="2147374719" r:id="rId24"/>
    <p:sldId id="2147374724" r:id="rId25"/>
    <p:sldId id="214737472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Predictive Incident Management" id="{599C45FC-8496-C141-85B3-221EF100B559}">
          <p14:sldIdLst>
            <p14:sldId id="2348"/>
            <p14:sldId id="2147374702"/>
            <p14:sldId id="2147374705"/>
            <p14:sldId id="2147374734"/>
          </p14:sldIdLst>
        </p14:section>
        <p14:section name="Development" id="{89FCEA0E-3178-43E2-BDDD-EDB459A10FB7}">
          <p14:sldIdLst>
            <p14:sldId id="2147374707"/>
            <p14:sldId id="2147374720"/>
            <p14:sldId id="2147374708"/>
            <p14:sldId id="2147374721"/>
            <p14:sldId id="2147374710"/>
            <p14:sldId id="2147374711"/>
            <p14:sldId id="2147374723"/>
            <p14:sldId id="2147374713"/>
            <p14:sldId id="2147374714"/>
            <p14:sldId id="2147374715"/>
            <p14:sldId id="2147374735"/>
            <p14:sldId id="2147374731"/>
            <p14:sldId id="2147374716"/>
          </p14:sldIdLst>
        </p14:section>
        <p14:section name="Appendix" id="{A941F2A2-BA6E-9042-BD5B-FFE57F3562D8}">
          <p14:sldIdLst>
            <p14:sldId id="2147374719"/>
            <p14:sldId id="2147374724"/>
            <p14:sldId id="214737472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200" userDrawn="1">
          <p15:clr>
            <a:srgbClr val="A4A3A4"/>
          </p15:clr>
        </p15:guide>
        <p15:guide id="4" pos="7071" userDrawn="1">
          <p15:clr>
            <a:srgbClr val="A4A3A4"/>
          </p15:clr>
        </p15:guide>
        <p15:guide id="5" orient="horz" pos="493" userDrawn="1">
          <p15:clr>
            <a:srgbClr val="A4A3A4"/>
          </p15:clr>
        </p15:guide>
        <p15:guide id="6" orient="horz" pos="3861" userDrawn="1">
          <p15:clr>
            <a:srgbClr val="A4A3A4"/>
          </p15:clr>
        </p15:guide>
        <p15:guide id="7" pos="492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B54"/>
    <a:srgbClr val="1F245C"/>
    <a:srgbClr val="F16834"/>
    <a:srgbClr val="166A57"/>
    <a:srgbClr val="6B65E8"/>
    <a:srgbClr val="839217"/>
    <a:srgbClr val="FFE1CC"/>
    <a:srgbClr val="81EC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69EDE9-436C-4707-8B3D-D4B434BD57D1}" v="73" dt="2022-08-19T11:11:58.9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7"/>
    <p:restoredTop sz="89935" autoAdjust="0"/>
  </p:normalViewPr>
  <p:slideViewPr>
    <p:cSldViewPr snapToGrid="0">
      <p:cViewPr varScale="1">
        <p:scale>
          <a:sx n="82" d="100"/>
          <a:sy n="82" d="100"/>
        </p:scale>
        <p:origin x="691" y="72"/>
      </p:cViewPr>
      <p:guideLst>
        <p:guide orient="horz" pos="2160"/>
        <p:guide pos="3840"/>
        <p:guide pos="200"/>
        <p:guide pos="7071"/>
        <p:guide orient="horz" pos="493"/>
        <p:guide orient="horz" pos="3861"/>
        <p:guide pos="49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shikant Bhaskar Surwade" userId="495076cc-52fc-426c-b589-27671fc457ea" providerId="ADAL" clId="{5D69EDE9-436C-4707-8B3D-D4B434BD57D1}"/>
    <pc:docChg chg="undo custSel addSld delSld modSld modSection">
      <pc:chgData name="Nishikant Bhaskar Surwade" userId="495076cc-52fc-426c-b589-27671fc457ea" providerId="ADAL" clId="{5D69EDE9-436C-4707-8B3D-D4B434BD57D1}" dt="2022-08-19T14:56:24.276" v="12352" actId="20577"/>
      <pc:docMkLst>
        <pc:docMk/>
      </pc:docMkLst>
      <pc:sldChg chg="modNotesTx">
        <pc:chgData name="Nishikant Bhaskar Surwade" userId="495076cc-52fc-426c-b589-27671fc457ea" providerId="ADAL" clId="{5D69EDE9-436C-4707-8B3D-D4B434BD57D1}" dt="2022-08-19T12:18:41.690" v="12135" actId="20577"/>
        <pc:sldMkLst>
          <pc:docMk/>
          <pc:sldMk cId="694368695" sldId="2147374702"/>
        </pc:sldMkLst>
      </pc:sldChg>
      <pc:sldChg chg="modNotesTx">
        <pc:chgData name="Nishikant Bhaskar Surwade" userId="495076cc-52fc-426c-b589-27671fc457ea" providerId="ADAL" clId="{5D69EDE9-436C-4707-8B3D-D4B434BD57D1}" dt="2022-08-19T10:02:28.877" v="7585" actId="15"/>
        <pc:sldMkLst>
          <pc:docMk/>
          <pc:sldMk cId="4193167993" sldId="2147374707"/>
        </pc:sldMkLst>
      </pc:sldChg>
      <pc:sldChg chg="modSp mod modNotesTx">
        <pc:chgData name="Nishikant Bhaskar Surwade" userId="495076cc-52fc-426c-b589-27671fc457ea" providerId="ADAL" clId="{5D69EDE9-436C-4707-8B3D-D4B434BD57D1}" dt="2022-08-19T10:18:52.527" v="8585" actId="15"/>
        <pc:sldMkLst>
          <pc:docMk/>
          <pc:sldMk cId="1943513288" sldId="2147374708"/>
        </pc:sldMkLst>
        <pc:spChg chg="mod">
          <ac:chgData name="Nishikant Bhaskar Surwade" userId="495076cc-52fc-426c-b589-27671fc457ea" providerId="ADAL" clId="{5D69EDE9-436C-4707-8B3D-D4B434BD57D1}" dt="2022-08-19T10:13:01.916" v="8185" actId="313"/>
          <ac:spMkLst>
            <pc:docMk/>
            <pc:sldMk cId="1943513288" sldId="2147374708"/>
            <ac:spMk id="6" creationId="{36A57E6A-9294-9576-348B-1E90324FB1E5}"/>
          </ac:spMkLst>
        </pc:spChg>
      </pc:sldChg>
      <pc:sldChg chg="modNotesTx">
        <pc:chgData name="Nishikant Bhaskar Surwade" userId="495076cc-52fc-426c-b589-27671fc457ea" providerId="ADAL" clId="{5D69EDE9-436C-4707-8B3D-D4B434BD57D1}" dt="2022-08-19T10:54:12.072" v="10374" actId="33524"/>
        <pc:sldMkLst>
          <pc:docMk/>
          <pc:sldMk cId="3298197649" sldId="2147374710"/>
        </pc:sldMkLst>
      </pc:sldChg>
      <pc:sldChg chg="modSp mod modNotesTx">
        <pc:chgData name="Nishikant Bhaskar Surwade" userId="495076cc-52fc-426c-b589-27671fc457ea" providerId="ADAL" clId="{5D69EDE9-436C-4707-8B3D-D4B434BD57D1}" dt="2022-08-19T14:56:06.536" v="12351" actId="20577"/>
        <pc:sldMkLst>
          <pc:docMk/>
          <pc:sldMk cId="1896352452" sldId="2147374711"/>
        </pc:sldMkLst>
        <pc:spChg chg="mod">
          <ac:chgData name="Nishikant Bhaskar Surwade" userId="495076cc-52fc-426c-b589-27671fc457ea" providerId="ADAL" clId="{5D69EDE9-436C-4707-8B3D-D4B434BD57D1}" dt="2022-08-19T14:56:06.536" v="12351" actId="20577"/>
          <ac:spMkLst>
            <pc:docMk/>
            <pc:sldMk cId="1896352452" sldId="2147374711"/>
            <ac:spMk id="4" creationId="{56DAEE35-9E5C-6A65-0FB8-0676E0DD2A05}"/>
          </ac:spMkLst>
        </pc:spChg>
      </pc:sldChg>
      <pc:sldChg chg="modNotesTx">
        <pc:chgData name="Nishikant Bhaskar Surwade" userId="495076cc-52fc-426c-b589-27671fc457ea" providerId="ADAL" clId="{5D69EDE9-436C-4707-8B3D-D4B434BD57D1}" dt="2022-08-19T11:00:18.242" v="10810" actId="15"/>
        <pc:sldMkLst>
          <pc:docMk/>
          <pc:sldMk cId="2231258373" sldId="2147374713"/>
        </pc:sldMkLst>
      </pc:sldChg>
      <pc:sldChg chg="modSp mod modNotesTx">
        <pc:chgData name="Nishikant Bhaskar Surwade" userId="495076cc-52fc-426c-b589-27671fc457ea" providerId="ADAL" clId="{5D69EDE9-436C-4707-8B3D-D4B434BD57D1}" dt="2022-08-19T14:56:24.276" v="12352" actId="20577"/>
        <pc:sldMkLst>
          <pc:docMk/>
          <pc:sldMk cId="3345262931" sldId="2147374714"/>
        </pc:sldMkLst>
        <pc:spChg chg="mod">
          <ac:chgData name="Nishikant Bhaskar Surwade" userId="495076cc-52fc-426c-b589-27671fc457ea" providerId="ADAL" clId="{5D69EDE9-436C-4707-8B3D-D4B434BD57D1}" dt="2022-08-19T14:56:24.276" v="12352" actId="20577"/>
          <ac:spMkLst>
            <pc:docMk/>
            <pc:sldMk cId="3345262931" sldId="2147374714"/>
            <ac:spMk id="4" creationId="{4E63A0E9-EB75-5636-FDAB-C1205B2077D1}"/>
          </ac:spMkLst>
        </pc:spChg>
      </pc:sldChg>
      <pc:sldChg chg="modNotesTx">
        <pc:chgData name="Nishikant Bhaskar Surwade" userId="495076cc-52fc-426c-b589-27671fc457ea" providerId="ADAL" clId="{5D69EDE9-436C-4707-8B3D-D4B434BD57D1}" dt="2022-08-19T11:10:17.371" v="11231" actId="20577"/>
        <pc:sldMkLst>
          <pc:docMk/>
          <pc:sldMk cId="2249997293" sldId="2147374715"/>
        </pc:sldMkLst>
      </pc:sldChg>
      <pc:sldChg chg="modNotesTx">
        <pc:chgData name="Nishikant Bhaskar Surwade" userId="495076cc-52fc-426c-b589-27671fc457ea" providerId="ADAL" clId="{5D69EDE9-436C-4707-8B3D-D4B434BD57D1}" dt="2022-08-19T12:34:30.566" v="12350"/>
        <pc:sldMkLst>
          <pc:docMk/>
          <pc:sldMk cId="517772960" sldId="2147374720"/>
        </pc:sldMkLst>
      </pc:sldChg>
      <pc:sldChg chg="modNotesTx">
        <pc:chgData name="Nishikant Bhaskar Surwade" userId="495076cc-52fc-426c-b589-27671fc457ea" providerId="ADAL" clId="{5D69EDE9-436C-4707-8B3D-D4B434BD57D1}" dt="2022-08-19T10:53:41.841" v="10371" actId="6549"/>
        <pc:sldMkLst>
          <pc:docMk/>
          <pc:sldMk cId="2837493188" sldId="2147374721"/>
        </pc:sldMkLst>
      </pc:sldChg>
      <pc:sldChg chg="modNotesTx">
        <pc:chgData name="Nishikant Bhaskar Surwade" userId="495076cc-52fc-426c-b589-27671fc457ea" providerId="ADAL" clId="{5D69EDE9-436C-4707-8B3D-D4B434BD57D1}" dt="2022-08-19T10:53:52.652" v="10373" actId="6549"/>
        <pc:sldMkLst>
          <pc:docMk/>
          <pc:sldMk cId="128673233" sldId="2147374723"/>
        </pc:sldMkLst>
      </pc:sldChg>
      <pc:sldChg chg="del">
        <pc:chgData name="Nishikant Bhaskar Surwade" userId="495076cc-52fc-426c-b589-27671fc457ea" providerId="ADAL" clId="{5D69EDE9-436C-4707-8B3D-D4B434BD57D1}" dt="2022-08-17T15:57:18.386" v="0" actId="47"/>
        <pc:sldMkLst>
          <pc:docMk/>
          <pc:sldMk cId="2407225145" sldId="2147374729"/>
        </pc:sldMkLst>
      </pc:sldChg>
      <pc:sldChg chg="del">
        <pc:chgData name="Nishikant Bhaskar Surwade" userId="495076cc-52fc-426c-b589-27671fc457ea" providerId="ADAL" clId="{5D69EDE9-436C-4707-8B3D-D4B434BD57D1}" dt="2022-08-17T15:57:28.009" v="2" actId="47"/>
        <pc:sldMkLst>
          <pc:docMk/>
          <pc:sldMk cId="1346355996" sldId="2147374730"/>
        </pc:sldMkLst>
      </pc:sldChg>
      <pc:sldChg chg="del">
        <pc:chgData name="Nishikant Bhaskar Surwade" userId="495076cc-52fc-426c-b589-27671fc457ea" providerId="ADAL" clId="{5D69EDE9-436C-4707-8B3D-D4B434BD57D1}" dt="2022-08-17T15:57:28.009" v="2" actId="47"/>
        <pc:sldMkLst>
          <pc:docMk/>
          <pc:sldMk cId="1510499509" sldId="2147374732"/>
        </pc:sldMkLst>
      </pc:sldChg>
      <pc:sldChg chg="del">
        <pc:chgData name="Nishikant Bhaskar Surwade" userId="495076cc-52fc-426c-b589-27671fc457ea" providerId="ADAL" clId="{5D69EDE9-436C-4707-8B3D-D4B434BD57D1}" dt="2022-08-17T15:57:20.361" v="1" actId="47"/>
        <pc:sldMkLst>
          <pc:docMk/>
          <pc:sldMk cId="1169330606" sldId="2147374733"/>
        </pc:sldMkLst>
      </pc:sldChg>
      <pc:sldChg chg="addSp delSp modSp mod modNotesTx">
        <pc:chgData name="Nishikant Bhaskar Surwade" userId="495076cc-52fc-426c-b589-27671fc457ea" providerId="ADAL" clId="{5D69EDE9-436C-4707-8B3D-D4B434BD57D1}" dt="2022-08-19T12:23:06.102" v="12301" actId="113"/>
        <pc:sldMkLst>
          <pc:docMk/>
          <pc:sldMk cId="1611053448" sldId="2147374734"/>
        </pc:sldMkLst>
        <pc:spChg chg="add mod">
          <ac:chgData name="Nishikant Bhaskar Surwade" userId="495076cc-52fc-426c-b589-27671fc457ea" providerId="ADAL" clId="{5D69EDE9-436C-4707-8B3D-D4B434BD57D1}" dt="2022-08-19T06:50:07.718" v="3767" actId="1036"/>
          <ac:spMkLst>
            <pc:docMk/>
            <pc:sldMk cId="1611053448" sldId="2147374734"/>
            <ac:spMk id="2" creationId="{F041B6BE-0088-6701-92AB-B00465215D7D}"/>
          </ac:spMkLst>
        </pc:spChg>
        <pc:spChg chg="add mod">
          <ac:chgData name="Nishikant Bhaskar Surwade" userId="495076cc-52fc-426c-b589-27671fc457ea" providerId="ADAL" clId="{5D69EDE9-436C-4707-8B3D-D4B434BD57D1}" dt="2022-08-19T06:50:07.718" v="3767" actId="1036"/>
          <ac:spMkLst>
            <pc:docMk/>
            <pc:sldMk cId="1611053448" sldId="2147374734"/>
            <ac:spMk id="5" creationId="{4B2D73E5-DF66-87A3-55E4-C32609BE7646}"/>
          </ac:spMkLst>
        </pc:spChg>
        <pc:spChg chg="add mod">
          <ac:chgData name="Nishikant Bhaskar Surwade" userId="495076cc-52fc-426c-b589-27671fc457ea" providerId="ADAL" clId="{5D69EDE9-436C-4707-8B3D-D4B434BD57D1}" dt="2022-08-19T06:50:07.718" v="3767" actId="1036"/>
          <ac:spMkLst>
            <pc:docMk/>
            <pc:sldMk cId="1611053448" sldId="2147374734"/>
            <ac:spMk id="6" creationId="{CF49D8B0-FB07-55EF-9EB4-23217D9E1C66}"/>
          </ac:spMkLst>
        </pc:spChg>
        <pc:spChg chg="del mod">
          <ac:chgData name="Nishikant Bhaskar Surwade" userId="495076cc-52fc-426c-b589-27671fc457ea" providerId="ADAL" clId="{5D69EDE9-436C-4707-8B3D-D4B434BD57D1}" dt="2022-08-19T06:49:39.247" v="3750" actId="478"/>
          <ac:spMkLst>
            <pc:docMk/>
            <pc:sldMk cId="1611053448" sldId="2147374734"/>
            <ac:spMk id="7" creationId="{AA697CD6-16D5-92AE-2A3C-0968BB56C542}"/>
          </ac:spMkLst>
        </pc:spChg>
        <pc:spChg chg="add mod">
          <ac:chgData name="Nishikant Bhaskar Surwade" userId="495076cc-52fc-426c-b589-27671fc457ea" providerId="ADAL" clId="{5D69EDE9-436C-4707-8B3D-D4B434BD57D1}" dt="2022-08-19T06:50:07.718" v="3767" actId="1036"/>
          <ac:spMkLst>
            <pc:docMk/>
            <pc:sldMk cId="1611053448" sldId="2147374734"/>
            <ac:spMk id="8" creationId="{331AD2B4-B1C4-8BA2-1993-77379C379A9A}"/>
          </ac:spMkLst>
        </pc:spChg>
        <pc:spChg chg="add mod">
          <ac:chgData name="Nishikant Bhaskar Surwade" userId="495076cc-52fc-426c-b589-27671fc457ea" providerId="ADAL" clId="{5D69EDE9-436C-4707-8B3D-D4B434BD57D1}" dt="2022-08-19T06:50:07.718" v="3767" actId="1036"/>
          <ac:spMkLst>
            <pc:docMk/>
            <pc:sldMk cId="1611053448" sldId="2147374734"/>
            <ac:spMk id="9" creationId="{0FF6EBA3-8D75-B3DC-3B58-CD26D7F5F0F5}"/>
          </ac:spMkLst>
        </pc:spChg>
        <pc:spChg chg="add mod">
          <ac:chgData name="Nishikant Bhaskar Surwade" userId="495076cc-52fc-426c-b589-27671fc457ea" providerId="ADAL" clId="{5D69EDE9-436C-4707-8B3D-D4B434BD57D1}" dt="2022-08-19T06:49:29.501" v="3748" actId="1036"/>
          <ac:spMkLst>
            <pc:docMk/>
            <pc:sldMk cId="1611053448" sldId="2147374734"/>
            <ac:spMk id="10" creationId="{F15E8924-2FE6-67D3-6A32-4A4586BCAD9F}"/>
          </ac:spMkLst>
        </pc:spChg>
        <pc:spChg chg="add mod">
          <ac:chgData name="Nishikant Bhaskar Surwade" userId="495076cc-52fc-426c-b589-27671fc457ea" providerId="ADAL" clId="{5D69EDE9-436C-4707-8B3D-D4B434BD57D1}" dt="2022-08-19T06:49:29.501" v="3748" actId="1036"/>
          <ac:spMkLst>
            <pc:docMk/>
            <pc:sldMk cId="1611053448" sldId="2147374734"/>
            <ac:spMk id="11" creationId="{B46B1BC3-E6FF-F7BB-556B-8589C863546D}"/>
          </ac:spMkLst>
        </pc:spChg>
        <pc:spChg chg="add mod">
          <ac:chgData name="Nishikant Bhaskar Surwade" userId="495076cc-52fc-426c-b589-27671fc457ea" providerId="ADAL" clId="{5D69EDE9-436C-4707-8B3D-D4B434BD57D1}" dt="2022-08-19T06:49:29.501" v="3748" actId="1036"/>
          <ac:spMkLst>
            <pc:docMk/>
            <pc:sldMk cId="1611053448" sldId="2147374734"/>
            <ac:spMk id="12" creationId="{19B49385-2209-6A8B-7F8F-19DD85D65856}"/>
          </ac:spMkLst>
        </pc:spChg>
        <pc:spChg chg="add mod">
          <ac:chgData name="Nishikant Bhaskar Surwade" userId="495076cc-52fc-426c-b589-27671fc457ea" providerId="ADAL" clId="{5D69EDE9-436C-4707-8B3D-D4B434BD57D1}" dt="2022-08-19T06:51:21.748" v="3923" actId="20577"/>
          <ac:spMkLst>
            <pc:docMk/>
            <pc:sldMk cId="1611053448" sldId="2147374734"/>
            <ac:spMk id="13" creationId="{03248C61-A20F-6AED-D0D1-CDB510A81DB2}"/>
          </ac:spMkLst>
        </pc:spChg>
        <pc:spChg chg="add mod">
          <ac:chgData name="Nishikant Bhaskar Surwade" userId="495076cc-52fc-426c-b589-27671fc457ea" providerId="ADAL" clId="{5D69EDE9-436C-4707-8B3D-D4B434BD57D1}" dt="2022-08-19T06:51:13.434" v="3908" actId="20577"/>
          <ac:spMkLst>
            <pc:docMk/>
            <pc:sldMk cId="1611053448" sldId="2147374734"/>
            <ac:spMk id="14" creationId="{7C062950-FF0B-613F-DF72-D816F3374B45}"/>
          </ac:spMkLst>
        </pc:spChg>
        <pc:spChg chg="add mod">
          <ac:chgData name="Nishikant Bhaskar Surwade" userId="495076cc-52fc-426c-b589-27671fc457ea" providerId="ADAL" clId="{5D69EDE9-436C-4707-8B3D-D4B434BD57D1}" dt="2022-08-19T06:51:08.653" v="3907" actId="20577"/>
          <ac:spMkLst>
            <pc:docMk/>
            <pc:sldMk cId="1611053448" sldId="2147374734"/>
            <ac:spMk id="15" creationId="{AC1C5BDF-B355-7924-996B-95701B0892DB}"/>
          </ac:spMkLst>
        </pc:spChg>
        <pc:spChg chg="add mod">
          <ac:chgData name="Nishikant Bhaskar Surwade" userId="495076cc-52fc-426c-b589-27671fc457ea" providerId="ADAL" clId="{5D69EDE9-436C-4707-8B3D-D4B434BD57D1}" dt="2022-08-19T06:51:03.141" v="3906" actId="20577"/>
          <ac:spMkLst>
            <pc:docMk/>
            <pc:sldMk cId="1611053448" sldId="2147374734"/>
            <ac:spMk id="16" creationId="{7079D594-C59A-998C-4DA1-F61F64C10120}"/>
          </ac:spMkLst>
        </pc:spChg>
        <pc:spChg chg="add mod">
          <ac:chgData name="Nishikant Bhaskar Surwade" userId="495076cc-52fc-426c-b589-27671fc457ea" providerId="ADAL" clId="{5D69EDE9-436C-4707-8B3D-D4B434BD57D1}" dt="2022-08-19T06:50:57.957" v="3905" actId="20577"/>
          <ac:spMkLst>
            <pc:docMk/>
            <pc:sldMk cId="1611053448" sldId="2147374734"/>
            <ac:spMk id="17" creationId="{35C04AD8-22B4-0F26-6A1E-9FD0266E76D4}"/>
          </ac:spMkLst>
        </pc:spChg>
        <pc:spChg chg="add mod">
          <ac:chgData name="Nishikant Bhaskar Surwade" userId="495076cc-52fc-426c-b589-27671fc457ea" providerId="ADAL" clId="{5D69EDE9-436C-4707-8B3D-D4B434BD57D1}" dt="2022-08-19T06:51:27.878" v="3924" actId="20577"/>
          <ac:spMkLst>
            <pc:docMk/>
            <pc:sldMk cId="1611053448" sldId="2147374734"/>
            <ac:spMk id="18" creationId="{67C964DC-A613-1657-3A2C-3315FDCDD1F3}"/>
          </ac:spMkLst>
        </pc:spChg>
        <pc:spChg chg="add mod">
          <ac:chgData name="Nishikant Bhaskar Surwade" userId="495076cc-52fc-426c-b589-27671fc457ea" providerId="ADAL" clId="{5D69EDE9-436C-4707-8B3D-D4B434BD57D1}" dt="2022-08-19T06:51:30.252" v="3925" actId="20577"/>
          <ac:spMkLst>
            <pc:docMk/>
            <pc:sldMk cId="1611053448" sldId="2147374734"/>
            <ac:spMk id="19" creationId="{6712993D-B4CC-0C36-5C77-798DB59EF0F0}"/>
          </ac:spMkLst>
        </pc:spChg>
        <pc:spChg chg="add mod">
          <ac:chgData name="Nishikant Bhaskar Surwade" userId="495076cc-52fc-426c-b589-27671fc457ea" providerId="ADAL" clId="{5D69EDE9-436C-4707-8B3D-D4B434BD57D1}" dt="2022-08-19T06:51:37.841" v="3928" actId="20577"/>
          <ac:spMkLst>
            <pc:docMk/>
            <pc:sldMk cId="1611053448" sldId="2147374734"/>
            <ac:spMk id="20" creationId="{9C2B8BFB-2E3A-4B84-6723-3D9EC790ABCC}"/>
          </ac:spMkLst>
        </pc:spChg>
        <pc:spChg chg="add mod">
          <ac:chgData name="Nishikant Bhaskar Surwade" userId="495076cc-52fc-426c-b589-27671fc457ea" providerId="ADAL" clId="{5D69EDE9-436C-4707-8B3D-D4B434BD57D1}" dt="2022-08-19T06:51:44.437" v="3929" actId="20577"/>
          <ac:spMkLst>
            <pc:docMk/>
            <pc:sldMk cId="1611053448" sldId="2147374734"/>
            <ac:spMk id="21" creationId="{3214F3FC-D069-642A-F825-9493FE547344}"/>
          </ac:spMkLst>
        </pc:spChg>
        <pc:spChg chg="add del mod">
          <ac:chgData name="Nishikant Bhaskar Surwade" userId="495076cc-52fc-426c-b589-27671fc457ea" providerId="ADAL" clId="{5D69EDE9-436C-4707-8B3D-D4B434BD57D1}" dt="2022-08-19T06:50:49.402" v="3904" actId="478"/>
          <ac:spMkLst>
            <pc:docMk/>
            <pc:sldMk cId="1611053448" sldId="2147374734"/>
            <ac:spMk id="22" creationId="{7FCBECF4-0CB2-5C65-A146-769DA949DB35}"/>
          </ac:spMkLst>
        </pc:spChg>
        <pc:spChg chg="mod">
          <ac:chgData name="Nishikant Bhaskar Surwade" userId="495076cc-52fc-426c-b589-27671fc457ea" providerId="ADAL" clId="{5D69EDE9-436C-4707-8B3D-D4B434BD57D1}" dt="2022-08-19T06:49:29.501" v="3748" actId="1036"/>
          <ac:spMkLst>
            <pc:docMk/>
            <pc:sldMk cId="1611053448" sldId="2147374734"/>
            <ac:spMk id="29" creationId="{E4BBFE7F-AD4B-0485-AF59-60C1773E453B}"/>
          </ac:spMkLst>
        </pc:spChg>
        <pc:spChg chg="mod">
          <ac:chgData name="Nishikant Bhaskar Surwade" userId="495076cc-52fc-426c-b589-27671fc457ea" providerId="ADAL" clId="{5D69EDE9-436C-4707-8B3D-D4B434BD57D1}" dt="2022-08-19T06:49:29.501" v="3748" actId="1036"/>
          <ac:spMkLst>
            <pc:docMk/>
            <pc:sldMk cId="1611053448" sldId="2147374734"/>
            <ac:spMk id="30" creationId="{BB020417-2E7B-9743-7CA9-844148C76CB8}"/>
          </ac:spMkLst>
        </pc:spChg>
        <pc:spChg chg="mod">
          <ac:chgData name="Nishikant Bhaskar Surwade" userId="495076cc-52fc-426c-b589-27671fc457ea" providerId="ADAL" clId="{5D69EDE9-436C-4707-8B3D-D4B434BD57D1}" dt="2022-08-19T06:49:29.501" v="3748" actId="1036"/>
          <ac:spMkLst>
            <pc:docMk/>
            <pc:sldMk cId="1611053448" sldId="2147374734"/>
            <ac:spMk id="31" creationId="{D40CE3C4-9351-52A7-D0F0-604C611250CE}"/>
          </ac:spMkLst>
        </pc:spChg>
        <pc:spChg chg="mod">
          <ac:chgData name="Nishikant Bhaskar Surwade" userId="495076cc-52fc-426c-b589-27671fc457ea" providerId="ADAL" clId="{5D69EDE9-436C-4707-8B3D-D4B434BD57D1}" dt="2022-08-19T06:49:29.501" v="3748" actId="1036"/>
          <ac:spMkLst>
            <pc:docMk/>
            <pc:sldMk cId="1611053448" sldId="2147374734"/>
            <ac:spMk id="32" creationId="{33E5D227-A193-98E7-DFCD-F48DB96D7F17}"/>
          </ac:spMkLst>
        </pc:spChg>
        <pc:spChg chg="mod">
          <ac:chgData name="Nishikant Bhaskar Surwade" userId="495076cc-52fc-426c-b589-27671fc457ea" providerId="ADAL" clId="{5D69EDE9-436C-4707-8B3D-D4B434BD57D1}" dt="2022-08-19T06:49:29.501" v="3748" actId="1036"/>
          <ac:spMkLst>
            <pc:docMk/>
            <pc:sldMk cId="1611053448" sldId="2147374734"/>
            <ac:spMk id="33" creationId="{B29B8C92-D575-806A-C10A-D83F379F2864}"/>
          </ac:spMkLst>
        </pc:spChg>
        <pc:spChg chg="del">
          <ac:chgData name="Nishikant Bhaskar Surwade" userId="495076cc-52fc-426c-b589-27671fc457ea" providerId="ADAL" clId="{5D69EDE9-436C-4707-8B3D-D4B434BD57D1}" dt="2022-08-19T06:49:43.283" v="3751" actId="478"/>
          <ac:spMkLst>
            <pc:docMk/>
            <pc:sldMk cId="1611053448" sldId="2147374734"/>
            <ac:spMk id="37" creationId="{3156679A-01E4-4262-05B1-FDEDE6B698F5}"/>
          </ac:spMkLst>
        </pc:spChg>
        <pc:spChg chg="del">
          <ac:chgData name="Nishikant Bhaskar Surwade" userId="495076cc-52fc-426c-b589-27671fc457ea" providerId="ADAL" clId="{5D69EDE9-436C-4707-8B3D-D4B434BD57D1}" dt="2022-08-19T06:49:46.145" v="3752" actId="478"/>
          <ac:spMkLst>
            <pc:docMk/>
            <pc:sldMk cId="1611053448" sldId="2147374734"/>
            <ac:spMk id="38" creationId="{B9E1FA6A-AE8D-C4B8-EE3F-4548D06B55BB}"/>
          </ac:spMkLst>
        </pc:spChg>
        <pc:grpChg chg="mod">
          <ac:chgData name="Nishikant Bhaskar Surwade" userId="495076cc-52fc-426c-b589-27671fc457ea" providerId="ADAL" clId="{5D69EDE9-436C-4707-8B3D-D4B434BD57D1}" dt="2022-08-19T06:54:00.789" v="3934" actId="1076"/>
          <ac:grpSpMkLst>
            <pc:docMk/>
            <pc:sldMk cId="1611053448" sldId="2147374734"/>
            <ac:grpSpMk id="25" creationId="{BF6D9923-0EC3-C2B3-03C3-9C0F38AE28BE}"/>
          </ac:grpSpMkLst>
        </pc:grpChg>
        <pc:graphicFrameChg chg="mod">
          <ac:chgData name="Nishikant Bhaskar Surwade" userId="495076cc-52fc-426c-b589-27671fc457ea" providerId="ADAL" clId="{5D69EDE9-436C-4707-8B3D-D4B434BD57D1}" dt="2022-08-19T06:52:13.624" v="3933" actId="20577"/>
          <ac:graphicFrameMkLst>
            <pc:docMk/>
            <pc:sldMk cId="1611053448" sldId="2147374734"/>
            <ac:graphicFrameMk id="3" creationId="{F4CA771E-DB23-F48B-AAFE-DA9ACF3B12C9}"/>
          </ac:graphicFrameMkLst>
        </pc:graphicFrameChg>
      </pc:sldChg>
      <pc:sldChg chg="delSp modSp add mod modNotesTx">
        <pc:chgData name="Nishikant Bhaskar Surwade" userId="495076cc-52fc-426c-b589-27671fc457ea" providerId="ADAL" clId="{5D69EDE9-436C-4707-8B3D-D4B434BD57D1}" dt="2022-08-19T12:17:46.989" v="12134" actId="5793"/>
        <pc:sldMkLst>
          <pc:docMk/>
          <pc:sldMk cId="992214314" sldId="2147374735"/>
        </pc:sldMkLst>
        <pc:spChg chg="mod">
          <ac:chgData name="Nishikant Bhaskar Surwade" userId="495076cc-52fc-426c-b589-27671fc457ea" providerId="ADAL" clId="{5D69EDE9-436C-4707-8B3D-D4B434BD57D1}" dt="2022-08-19T11:13:07.904" v="11275" actId="113"/>
          <ac:spMkLst>
            <pc:docMk/>
            <pc:sldMk cId="992214314" sldId="2147374735"/>
            <ac:spMk id="2" creationId="{FB4EE193-90E9-1887-F2FA-9E5A696550A5}"/>
          </ac:spMkLst>
        </pc:spChg>
        <pc:spChg chg="mod">
          <ac:chgData name="Nishikant Bhaskar Surwade" userId="495076cc-52fc-426c-b589-27671fc457ea" providerId="ADAL" clId="{5D69EDE9-436C-4707-8B3D-D4B434BD57D1}" dt="2022-08-19T12:10:06.271" v="11762" actId="20577"/>
          <ac:spMkLst>
            <pc:docMk/>
            <pc:sldMk cId="992214314" sldId="2147374735"/>
            <ac:spMk id="4" creationId="{842C8C9E-E1CE-A5EF-FB94-79D35863C978}"/>
          </ac:spMkLst>
        </pc:spChg>
        <pc:spChg chg="del">
          <ac:chgData name="Nishikant Bhaskar Surwade" userId="495076cc-52fc-426c-b589-27671fc457ea" providerId="ADAL" clId="{5D69EDE9-436C-4707-8B3D-D4B434BD57D1}" dt="2022-08-19T11:12:03.525" v="11234" actId="478"/>
          <ac:spMkLst>
            <pc:docMk/>
            <pc:sldMk cId="992214314" sldId="2147374735"/>
            <ac:spMk id="5" creationId="{8433A509-5D46-4FDA-B1F9-44C7E03A0944}"/>
          </ac:spMkLst>
        </pc:spChg>
        <pc:spChg chg="del">
          <ac:chgData name="Nishikant Bhaskar Surwade" userId="495076cc-52fc-426c-b589-27671fc457ea" providerId="ADAL" clId="{5D69EDE9-436C-4707-8B3D-D4B434BD57D1}" dt="2022-08-19T11:12:06.695" v="11235" actId="478"/>
          <ac:spMkLst>
            <pc:docMk/>
            <pc:sldMk cId="992214314" sldId="2147374735"/>
            <ac:spMk id="7" creationId="{47CAA054-26C2-765B-70D7-754AFF251D80}"/>
          </ac:spMkLst>
        </pc:spChg>
        <pc:spChg chg="del">
          <ac:chgData name="Nishikant Bhaskar Surwade" userId="495076cc-52fc-426c-b589-27671fc457ea" providerId="ADAL" clId="{5D69EDE9-436C-4707-8B3D-D4B434BD57D1}" dt="2022-08-19T11:12:08.923" v="11236" actId="478"/>
          <ac:spMkLst>
            <pc:docMk/>
            <pc:sldMk cId="992214314" sldId="2147374735"/>
            <ac:spMk id="8" creationId="{D2770004-B246-266F-872A-7A5CF7AE5392}"/>
          </ac:spMkLst>
        </pc:spChg>
        <pc:spChg chg="del">
          <ac:chgData name="Nishikant Bhaskar Surwade" userId="495076cc-52fc-426c-b589-27671fc457ea" providerId="ADAL" clId="{5D69EDE9-436C-4707-8B3D-D4B434BD57D1}" dt="2022-08-19T11:12:11.867" v="11237" actId="478"/>
          <ac:spMkLst>
            <pc:docMk/>
            <pc:sldMk cId="992214314" sldId="2147374735"/>
            <ac:spMk id="9" creationId="{BDFF2CB4-9114-9B8D-734D-B2F3F7563DE1}"/>
          </ac:spMkLst>
        </pc:spChg>
        <pc:spChg chg="del">
          <ac:chgData name="Nishikant Bhaskar Surwade" userId="495076cc-52fc-426c-b589-27671fc457ea" providerId="ADAL" clId="{5D69EDE9-436C-4707-8B3D-D4B434BD57D1}" dt="2022-08-19T11:12:14.025" v="11238" actId="478"/>
          <ac:spMkLst>
            <pc:docMk/>
            <pc:sldMk cId="992214314" sldId="2147374735"/>
            <ac:spMk id="10" creationId="{6D709F92-A5C0-6336-5511-140E2CEEFBE8}"/>
          </ac:spMkLst>
        </pc:spChg>
        <pc:picChg chg="del">
          <ac:chgData name="Nishikant Bhaskar Surwade" userId="495076cc-52fc-426c-b589-27671fc457ea" providerId="ADAL" clId="{5D69EDE9-436C-4707-8B3D-D4B434BD57D1}" dt="2022-08-19T11:11:58.980" v="11233" actId="478"/>
          <ac:picMkLst>
            <pc:docMk/>
            <pc:sldMk cId="992214314" sldId="2147374735"/>
            <ac:picMk id="5122" creationId="{623F446D-8991-E6F2-C218-2099B3E9E0F5}"/>
          </ac:picMkLst>
        </pc:picChg>
        <pc:picChg chg="del">
          <ac:chgData name="Nishikant Bhaskar Surwade" userId="495076cc-52fc-426c-b589-27671fc457ea" providerId="ADAL" clId="{5D69EDE9-436C-4707-8B3D-D4B434BD57D1}" dt="2022-08-19T11:11:58.980" v="11233" actId="478"/>
          <ac:picMkLst>
            <pc:docMk/>
            <pc:sldMk cId="992214314" sldId="2147374735"/>
            <ac:picMk id="5124" creationId="{79A1CD48-654B-0EEE-8F2D-21B24545520D}"/>
          </ac:picMkLst>
        </pc:picChg>
      </pc:sldChg>
    </pc:docChg>
  </pc:docChgLst>
  <pc:docChgLst>
    <pc:chgData name="Nishikant Bhaskar Surwade" userId="495076cc-52fc-426c-b589-27671fc457ea" providerId="ADAL" clId="{E3228ED0-0088-4AD0-85A1-5F9F474E32E2}"/>
    <pc:docChg chg="undo redo custSel addSld delSld modSld sldOrd modSection">
      <pc:chgData name="Nishikant Bhaskar Surwade" userId="495076cc-52fc-426c-b589-27671fc457ea" providerId="ADAL" clId="{E3228ED0-0088-4AD0-85A1-5F9F474E32E2}" dt="2022-08-16T09:57:34.819" v="169" actId="729"/>
      <pc:docMkLst>
        <pc:docMk/>
      </pc:docMkLst>
      <pc:sldChg chg="modSp mod">
        <pc:chgData name="Nishikant Bhaskar Surwade" userId="495076cc-52fc-426c-b589-27671fc457ea" providerId="ADAL" clId="{E3228ED0-0088-4AD0-85A1-5F9F474E32E2}" dt="2022-08-12T14:31:46.635" v="2" actId="1076"/>
        <pc:sldMkLst>
          <pc:docMk/>
          <pc:sldMk cId="3298197649" sldId="2147374710"/>
        </pc:sldMkLst>
        <pc:spChg chg="mod">
          <ac:chgData name="Nishikant Bhaskar Surwade" userId="495076cc-52fc-426c-b589-27671fc457ea" providerId="ADAL" clId="{E3228ED0-0088-4AD0-85A1-5F9F474E32E2}" dt="2022-08-12T14:31:42.561" v="0" actId="1076"/>
          <ac:spMkLst>
            <pc:docMk/>
            <pc:sldMk cId="3298197649" sldId="2147374710"/>
            <ac:spMk id="9" creationId="{BDFF2CB4-9114-9B8D-734D-B2F3F7563DE1}"/>
          </ac:spMkLst>
        </pc:spChg>
        <pc:spChg chg="mod">
          <ac:chgData name="Nishikant Bhaskar Surwade" userId="495076cc-52fc-426c-b589-27671fc457ea" providerId="ADAL" clId="{E3228ED0-0088-4AD0-85A1-5F9F474E32E2}" dt="2022-08-12T14:31:46.635" v="2" actId="1076"/>
          <ac:spMkLst>
            <pc:docMk/>
            <pc:sldMk cId="3298197649" sldId="2147374710"/>
            <ac:spMk id="10" creationId="{6D709F92-A5C0-6336-5511-140E2CEEFBE8}"/>
          </ac:spMkLst>
        </pc:spChg>
      </pc:sldChg>
      <pc:sldChg chg="add del mod modShow">
        <pc:chgData name="Nishikant Bhaskar Surwade" userId="495076cc-52fc-426c-b589-27671fc457ea" providerId="ADAL" clId="{E3228ED0-0088-4AD0-85A1-5F9F474E32E2}" dt="2022-08-12T14:52:53.099" v="50" actId="729"/>
        <pc:sldMkLst>
          <pc:docMk/>
          <pc:sldMk cId="3673901634" sldId="2147374719"/>
        </pc:sldMkLst>
      </pc:sldChg>
      <pc:sldChg chg="add del mod modShow">
        <pc:chgData name="Nishikant Bhaskar Surwade" userId="495076cc-52fc-426c-b589-27671fc457ea" providerId="ADAL" clId="{E3228ED0-0088-4AD0-85A1-5F9F474E32E2}" dt="2022-08-12T14:52:57.197" v="51" actId="729"/>
        <pc:sldMkLst>
          <pc:docMk/>
          <pc:sldMk cId="1207089963" sldId="2147374724"/>
        </pc:sldMkLst>
      </pc:sldChg>
      <pc:sldChg chg="add del mod modShow">
        <pc:chgData name="Nishikant Bhaskar Surwade" userId="495076cc-52fc-426c-b589-27671fc457ea" providerId="ADAL" clId="{E3228ED0-0088-4AD0-85A1-5F9F474E32E2}" dt="2022-08-12T14:53:00.506" v="52" actId="729"/>
        <pc:sldMkLst>
          <pc:docMk/>
          <pc:sldMk cId="2040775108" sldId="2147374725"/>
        </pc:sldMkLst>
      </pc:sldChg>
      <pc:sldChg chg="addSp delSp modSp mod modAnim modShow">
        <pc:chgData name="Nishikant Bhaskar Surwade" userId="495076cc-52fc-426c-b589-27671fc457ea" providerId="ADAL" clId="{E3228ED0-0088-4AD0-85A1-5F9F474E32E2}" dt="2022-08-16T09:57:34.819" v="169" actId="729"/>
        <pc:sldMkLst>
          <pc:docMk/>
          <pc:sldMk cId="2407225145" sldId="2147374729"/>
        </pc:sldMkLst>
        <pc:spChg chg="mod">
          <ac:chgData name="Nishikant Bhaskar Surwade" userId="495076cc-52fc-426c-b589-27671fc457ea" providerId="ADAL" clId="{E3228ED0-0088-4AD0-85A1-5F9F474E32E2}" dt="2022-08-12T14:46:20.517" v="25" actId="1076"/>
          <ac:spMkLst>
            <pc:docMk/>
            <pc:sldMk cId="2407225145" sldId="2147374729"/>
            <ac:spMk id="5" creationId="{36A81115-0394-3788-8292-5EA6EC98D237}"/>
          </ac:spMkLst>
        </pc:spChg>
        <pc:spChg chg="mod">
          <ac:chgData name="Nishikant Bhaskar Surwade" userId="495076cc-52fc-426c-b589-27671fc457ea" providerId="ADAL" clId="{E3228ED0-0088-4AD0-85A1-5F9F474E32E2}" dt="2022-08-12T14:46:20.517" v="25" actId="1076"/>
          <ac:spMkLst>
            <pc:docMk/>
            <pc:sldMk cId="2407225145" sldId="2147374729"/>
            <ac:spMk id="12" creationId="{C2E4FFCD-7999-8935-7B55-444805B03F0F}"/>
          </ac:spMkLst>
        </pc:spChg>
        <pc:spChg chg="mod">
          <ac:chgData name="Nishikant Bhaskar Surwade" userId="495076cc-52fc-426c-b589-27671fc457ea" providerId="ADAL" clId="{E3228ED0-0088-4AD0-85A1-5F9F474E32E2}" dt="2022-08-12T14:46:20.517" v="25" actId="1076"/>
          <ac:spMkLst>
            <pc:docMk/>
            <pc:sldMk cId="2407225145" sldId="2147374729"/>
            <ac:spMk id="13" creationId="{1C7F540F-A7B1-B339-CFB1-B1DDEA901949}"/>
          </ac:spMkLst>
        </pc:spChg>
        <pc:spChg chg="mod">
          <ac:chgData name="Nishikant Bhaskar Surwade" userId="495076cc-52fc-426c-b589-27671fc457ea" providerId="ADAL" clId="{E3228ED0-0088-4AD0-85A1-5F9F474E32E2}" dt="2022-08-12T14:46:20.517" v="25" actId="1076"/>
          <ac:spMkLst>
            <pc:docMk/>
            <pc:sldMk cId="2407225145" sldId="2147374729"/>
            <ac:spMk id="14" creationId="{70044478-898C-0C13-01A7-A304D405B267}"/>
          </ac:spMkLst>
        </pc:spChg>
        <pc:spChg chg="mod">
          <ac:chgData name="Nishikant Bhaskar Surwade" userId="495076cc-52fc-426c-b589-27671fc457ea" providerId="ADAL" clId="{E3228ED0-0088-4AD0-85A1-5F9F474E32E2}" dt="2022-08-12T14:46:20.517" v="25" actId="1076"/>
          <ac:spMkLst>
            <pc:docMk/>
            <pc:sldMk cId="2407225145" sldId="2147374729"/>
            <ac:spMk id="15" creationId="{63EAA7B3-A1A1-BB66-B78A-57E263402BFA}"/>
          </ac:spMkLst>
        </pc:spChg>
        <pc:spChg chg="mod">
          <ac:chgData name="Nishikant Bhaskar Surwade" userId="495076cc-52fc-426c-b589-27671fc457ea" providerId="ADAL" clId="{E3228ED0-0088-4AD0-85A1-5F9F474E32E2}" dt="2022-08-12T14:46:20.517" v="25" actId="1076"/>
          <ac:spMkLst>
            <pc:docMk/>
            <pc:sldMk cId="2407225145" sldId="2147374729"/>
            <ac:spMk id="16" creationId="{DE42CD8A-9E90-BB36-12A0-550DB87D85C2}"/>
          </ac:spMkLst>
        </pc:spChg>
        <pc:spChg chg="mod">
          <ac:chgData name="Nishikant Bhaskar Surwade" userId="495076cc-52fc-426c-b589-27671fc457ea" providerId="ADAL" clId="{E3228ED0-0088-4AD0-85A1-5F9F474E32E2}" dt="2022-08-12T14:46:20.517" v="25" actId="1076"/>
          <ac:spMkLst>
            <pc:docMk/>
            <pc:sldMk cId="2407225145" sldId="2147374729"/>
            <ac:spMk id="17" creationId="{7767B80A-18F2-6FDA-D017-632B658BB3E4}"/>
          </ac:spMkLst>
        </pc:spChg>
        <pc:spChg chg="mod">
          <ac:chgData name="Nishikant Bhaskar Surwade" userId="495076cc-52fc-426c-b589-27671fc457ea" providerId="ADAL" clId="{E3228ED0-0088-4AD0-85A1-5F9F474E32E2}" dt="2022-08-12T14:46:20.517" v="25" actId="1076"/>
          <ac:spMkLst>
            <pc:docMk/>
            <pc:sldMk cId="2407225145" sldId="2147374729"/>
            <ac:spMk id="18" creationId="{DE2C47C4-1F09-A1CA-6101-1D455F119B56}"/>
          </ac:spMkLst>
        </pc:spChg>
        <pc:spChg chg="mod">
          <ac:chgData name="Nishikant Bhaskar Surwade" userId="495076cc-52fc-426c-b589-27671fc457ea" providerId="ADAL" clId="{E3228ED0-0088-4AD0-85A1-5F9F474E32E2}" dt="2022-08-12T14:46:20.517" v="25" actId="1076"/>
          <ac:spMkLst>
            <pc:docMk/>
            <pc:sldMk cId="2407225145" sldId="2147374729"/>
            <ac:spMk id="19" creationId="{0E6E67A5-0F7B-922C-74E8-7E41AAEA4C82}"/>
          </ac:spMkLst>
        </pc:spChg>
        <pc:spChg chg="mod">
          <ac:chgData name="Nishikant Bhaskar Surwade" userId="495076cc-52fc-426c-b589-27671fc457ea" providerId="ADAL" clId="{E3228ED0-0088-4AD0-85A1-5F9F474E32E2}" dt="2022-08-12T14:46:20.517" v="25" actId="1076"/>
          <ac:spMkLst>
            <pc:docMk/>
            <pc:sldMk cId="2407225145" sldId="2147374729"/>
            <ac:spMk id="20" creationId="{F4DDBA55-F6C3-F888-0E73-CA3C3873A077}"/>
          </ac:spMkLst>
        </pc:spChg>
        <pc:spChg chg="mod">
          <ac:chgData name="Nishikant Bhaskar Surwade" userId="495076cc-52fc-426c-b589-27671fc457ea" providerId="ADAL" clId="{E3228ED0-0088-4AD0-85A1-5F9F474E32E2}" dt="2022-08-12T14:46:20.517" v="25" actId="1076"/>
          <ac:spMkLst>
            <pc:docMk/>
            <pc:sldMk cId="2407225145" sldId="2147374729"/>
            <ac:spMk id="21" creationId="{161744C5-8E3B-4627-7D5B-36819E71D168}"/>
          </ac:spMkLst>
        </pc:spChg>
        <pc:spChg chg="mod">
          <ac:chgData name="Nishikant Bhaskar Surwade" userId="495076cc-52fc-426c-b589-27671fc457ea" providerId="ADAL" clId="{E3228ED0-0088-4AD0-85A1-5F9F474E32E2}" dt="2022-08-12T14:46:20.517" v="25" actId="1076"/>
          <ac:spMkLst>
            <pc:docMk/>
            <pc:sldMk cId="2407225145" sldId="2147374729"/>
            <ac:spMk id="22" creationId="{4D0DA184-1BFF-3807-6228-3B4B87BEA729}"/>
          </ac:spMkLst>
        </pc:spChg>
        <pc:spChg chg="mod">
          <ac:chgData name="Nishikant Bhaskar Surwade" userId="495076cc-52fc-426c-b589-27671fc457ea" providerId="ADAL" clId="{E3228ED0-0088-4AD0-85A1-5F9F474E32E2}" dt="2022-08-12T14:46:20.517" v="25" actId="1076"/>
          <ac:spMkLst>
            <pc:docMk/>
            <pc:sldMk cId="2407225145" sldId="2147374729"/>
            <ac:spMk id="23" creationId="{9F6AEF7D-91F2-795B-8998-7FCFE396A0AB}"/>
          </ac:spMkLst>
        </pc:spChg>
        <pc:spChg chg="mod">
          <ac:chgData name="Nishikant Bhaskar Surwade" userId="495076cc-52fc-426c-b589-27671fc457ea" providerId="ADAL" clId="{E3228ED0-0088-4AD0-85A1-5F9F474E32E2}" dt="2022-08-12T14:46:20.517" v="25" actId="1076"/>
          <ac:spMkLst>
            <pc:docMk/>
            <pc:sldMk cId="2407225145" sldId="2147374729"/>
            <ac:spMk id="24" creationId="{CB166955-3012-7BCA-D1E6-FF0F79FD70E4}"/>
          </ac:spMkLst>
        </pc:spChg>
        <pc:grpChg chg="mod">
          <ac:chgData name="Nishikant Bhaskar Surwade" userId="495076cc-52fc-426c-b589-27671fc457ea" providerId="ADAL" clId="{E3228ED0-0088-4AD0-85A1-5F9F474E32E2}" dt="2022-08-12T14:46:20.517" v="25" actId="1076"/>
          <ac:grpSpMkLst>
            <pc:docMk/>
            <pc:sldMk cId="2407225145" sldId="2147374729"/>
            <ac:grpSpMk id="2" creationId="{2D7EF27C-DCD8-06DD-6A5E-CB67ADB4A6EC}"/>
          </ac:grpSpMkLst>
        </pc:grpChg>
        <pc:grpChg chg="mod">
          <ac:chgData name="Nishikant Bhaskar Surwade" userId="495076cc-52fc-426c-b589-27671fc457ea" providerId="ADAL" clId="{E3228ED0-0088-4AD0-85A1-5F9F474E32E2}" dt="2022-08-12T14:49:12.613" v="33" actId="1076"/>
          <ac:grpSpMkLst>
            <pc:docMk/>
            <pc:sldMk cId="2407225145" sldId="2147374729"/>
            <ac:grpSpMk id="25" creationId="{BF6D9923-0EC3-C2B3-03C3-9C0F38AE28BE}"/>
          </ac:grpSpMkLst>
        </pc:grpChg>
        <pc:picChg chg="add mod">
          <ac:chgData name="Nishikant Bhaskar Surwade" userId="495076cc-52fc-426c-b589-27671fc457ea" providerId="ADAL" clId="{E3228ED0-0088-4AD0-85A1-5F9F474E32E2}" dt="2022-08-12T14:45:48.233" v="21" actId="1076"/>
          <ac:picMkLst>
            <pc:docMk/>
            <pc:sldMk cId="2407225145" sldId="2147374729"/>
            <ac:picMk id="6" creationId="{C068F336-4DE3-513D-9F43-76046B349061}"/>
          </ac:picMkLst>
        </pc:picChg>
        <pc:picChg chg="add del mod">
          <ac:chgData name="Nishikant Bhaskar Surwade" userId="495076cc-52fc-426c-b589-27671fc457ea" providerId="ADAL" clId="{E3228ED0-0088-4AD0-85A1-5F9F474E32E2}" dt="2022-08-12T14:49:06.775" v="30"/>
          <ac:picMkLst>
            <pc:docMk/>
            <pc:sldMk cId="2407225145" sldId="2147374729"/>
            <ac:picMk id="7" creationId="{BF83DFA3-1BB1-3914-8B5D-6B65089FD972}"/>
          </ac:picMkLst>
        </pc:picChg>
        <pc:picChg chg="add mod">
          <ac:chgData name="Nishikant Bhaskar Surwade" userId="495076cc-52fc-426c-b589-27671fc457ea" providerId="ADAL" clId="{E3228ED0-0088-4AD0-85A1-5F9F474E32E2}" dt="2022-08-12T14:49:31.917" v="36" actId="1076"/>
          <ac:picMkLst>
            <pc:docMk/>
            <pc:sldMk cId="2407225145" sldId="2147374729"/>
            <ac:picMk id="8" creationId="{78701D2D-821B-CDB2-6A2F-35689BC3DB83}"/>
          </ac:picMkLst>
        </pc:picChg>
        <pc:picChg chg="add mod">
          <ac:chgData name="Nishikant Bhaskar Surwade" userId="495076cc-52fc-426c-b589-27671fc457ea" providerId="ADAL" clId="{E3228ED0-0088-4AD0-85A1-5F9F474E32E2}" dt="2022-08-12T14:50:36.929" v="44" actId="1076"/>
          <ac:picMkLst>
            <pc:docMk/>
            <pc:sldMk cId="2407225145" sldId="2147374729"/>
            <ac:picMk id="9" creationId="{A1E69B08-9A62-2884-3DBD-E124F165035F}"/>
          </ac:picMkLst>
        </pc:picChg>
        <pc:picChg chg="add mod">
          <ac:chgData name="Nishikant Bhaskar Surwade" userId="495076cc-52fc-426c-b589-27671fc457ea" providerId="ADAL" clId="{E3228ED0-0088-4AD0-85A1-5F9F474E32E2}" dt="2022-08-12T14:49:48.182" v="40" actId="1076"/>
          <ac:picMkLst>
            <pc:docMk/>
            <pc:sldMk cId="2407225145" sldId="2147374729"/>
            <ac:picMk id="10" creationId="{26CBF717-5548-98F0-6A5B-622F6CE7F678}"/>
          </ac:picMkLst>
        </pc:picChg>
        <pc:picChg chg="add mod">
          <ac:chgData name="Nishikant Bhaskar Surwade" userId="495076cc-52fc-426c-b589-27671fc457ea" providerId="ADAL" clId="{E3228ED0-0088-4AD0-85A1-5F9F474E32E2}" dt="2022-08-12T14:49:55.666" v="42" actId="1076"/>
          <ac:picMkLst>
            <pc:docMk/>
            <pc:sldMk cId="2407225145" sldId="2147374729"/>
            <ac:picMk id="11" creationId="{2B8EEF0E-E825-A955-CEFA-3AF0B39CC157}"/>
          </ac:picMkLst>
        </pc:picChg>
      </pc:sldChg>
      <pc:sldChg chg="mod modShow">
        <pc:chgData name="Nishikant Bhaskar Surwade" userId="495076cc-52fc-426c-b589-27671fc457ea" providerId="ADAL" clId="{E3228ED0-0088-4AD0-85A1-5F9F474E32E2}" dt="2022-08-12T14:51:13.635" v="45" actId="729"/>
        <pc:sldMkLst>
          <pc:docMk/>
          <pc:sldMk cId="1346355996" sldId="2147374730"/>
        </pc:sldMkLst>
      </pc:sldChg>
      <pc:sldChg chg="delSp modSp add mod ord delAnim">
        <pc:chgData name="Nishikant Bhaskar Surwade" userId="495076cc-52fc-426c-b589-27671fc457ea" providerId="ADAL" clId="{E3228ED0-0088-4AD0-85A1-5F9F474E32E2}" dt="2022-08-12T14:34:20.132" v="17" actId="15"/>
        <pc:sldMkLst>
          <pc:docMk/>
          <pc:sldMk cId="2984410827" sldId="2147374731"/>
        </pc:sldMkLst>
        <pc:spChg chg="mod">
          <ac:chgData name="Nishikant Bhaskar Surwade" userId="495076cc-52fc-426c-b589-27671fc457ea" providerId="ADAL" clId="{E3228ED0-0088-4AD0-85A1-5F9F474E32E2}" dt="2022-08-12T14:34:20.132" v="17" actId="15"/>
          <ac:spMkLst>
            <pc:docMk/>
            <pc:sldMk cId="2984410827" sldId="2147374731"/>
            <ac:spMk id="2" creationId="{D4B34404-6CA6-085D-8635-06B126ED039C}"/>
          </ac:spMkLst>
        </pc:spChg>
        <pc:picChg chg="del">
          <ac:chgData name="Nishikant Bhaskar Surwade" userId="495076cc-52fc-426c-b589-27671fc457ea" providerId="ADAL" clId="{E3228ED0-0088-4AD0-85A1-5F9F474E32E2}" dt="2022-08-12T14:32:59.657" v="6" actId="478"/>
          <ac:picMkLst>
            <pc:docMk/>
            <pc:sldMk cId="2984410827" sldId="2147374731"/>
            <ac:picMk id="3" creationId="{5E76E3C2-41E6-2D9D-861D-A5D06E2D85B4}"/>
          </ac:picMkLst>
        </pc:picChg>
      </pc:sldChg>
      <pc:sldChg chg="add">
        <pc:chgData name="Nishikant Bhaskar Surwade" userId="495076cc-52fc-426c-b589-27671fc457ea" providerId="ADAL" clId="{E3228ED0-0088-4AD0-85A1-5F9F474E32E2}" dt="2022-08-12T14:51:33.409" v="46"/>
        <pc:sldMkLst>
          <pc:docMk/>
          <pc:sldMk cId="1510499509" sldId="2147374732"/>
        </pc:sldMkLst>
      </pc:sldChg>
      <pc:sldChg chg="addSp delSp modSp add mod delAnim modAnim">
        <pc:chgData name="Nishikant Bhaskar Surwade" userId="495076cc-52fc-426c-b589-27671fc457ea" providerId="ADAL" clId="{E3228ED0-0088-4AD0-85A1-5F9F474E32E2}" dt="2022-08-16T09:10:02.386" v="168" actId="20577"/>
        <pc:sldMkLst>
          <pc:docMk/>
          <pc:sldMk cId="1169330606" sldId="2147374733"/>
        </pc:sldMkLst>
        <pc:spChg chg="mod">
          <ac:chgData name="Nishikant Bhaskar Surwade" userId="495076cc-52fc-426c-b589-27671fc457ea" providerId="ADAL" clId="{E3228ED0-0088-4AD0-85A1-5F9F474E32E2}" dt="2022-08-16T09:04:40.843" v="132" actId="1076"/>
          <ac:spMkLst>
            <pc:docMk/>
            <pc:sldMk cId="1169330606" sldId="2147374733"/>
            <ac:spMk id="5" creationId="{36A81115-0394-3788-8292-5EA6EC98D237}"/>
          </ac:spMkLst>
        </pc:spChg>
        <pc:spChg chg="add mod">
          <ac:chgData name="Nishikant Bhaskar Surwade" userId="495076cc-52fc-426c-b589-27671fc457ea" providerId="ADAL" clId="{E3228ED0-0088-4AD0-85A1-5F9F474E32E2}" dt="2022-08-16T09:09:30.707" v="166" actId="20577"/>
          <ac:spMkLst>
            <pc:docMk/>
            <pc:sldMk cId="1169330606" sldId="2147374733"/>
            <ac:spMk id="7" creationId="{AA697CD6-16D5-92AE-2A3C-0968BB56C542}"/>
          </ac:spMkLst>
        </pc:spChg>
        <pc:spChg chg="mod">
          <ac:chgData name="Nishikant Bhaskar Surwade" userId="495076cc-52fc-426c-b589-27671fc457ea" providerId="ADAL" clId="{E3228ED0-0088-4AD0-85A1-5F9F474E32E2}" dt="2022-08-16T09:04:40.843" v="132" actId="1076"/>
          <ac:spMkLst>
            <pc:docMk/>
            <pc:sldMk cId="1169330606" sldId="2147374733"/>
            <ac:spMk id="12" creationId="{C2E4FFCD-7999-8935-7B55-444805B03F0F}"/>
          </ac:spMkLst>
        </pc:spChg>
        <pc:spChg chg="mod">
          <ac:chgData name="Nishikant Bhaskar Surwade" userId="495076cc-52fc-426c-b589-27671fc457ea" providerId="ADAL" clId="{E3228ED0-0088-4AD0-85A1-5F9F474E32E2}" dt="2022-08-16T09:04:40.843" v="132" actId="1076"/>
          <ac:spMkLst>
            <pc:docMk/>
            <pc:sldMk cId="1169330606" sldId="2147374733"/>
            <ac:spMk id="13" creationId="{1C7F540F-A7B1-B339-CFB1-B1DDEA901949}"/>
          </ac:spMkLst>
        </pc:spChg>
        <pc:spChg chg="mod">
          <ac:chgData name="Nishikant Bhaskar Surwade" userId="495076cc-52fc-426c-b589-27671fc457ea" providerId="ADAL" clId="{E3228ED0-0088-4AD0-85A1-5F9F474E32E2}" dt="2022-08-16T09:04:40.843" v="132" actId="1076"/>
          <ac:spMkLst>
            <pc:docMk/>
            <pc:sldMk cId="1169330606" sldId="2147374733"/>
            <ac:spMk id="14" creationId="{70044478-898C-0C13-01A7-A304D405B267}"/>
          </ac:spMkLst>
        </pc:spChg>
        <pc:spChg chg="mod">
          <ac:chgData name="Nishikant Bhaskar Surwade" userId="495076cc-52fc-426c-b589-27671fc457ea" providerId="ADAL" clId="{E3228ED0-0088-4AD0-85A1-5F9F474E32E2}" dt="2022-08-16T09:04:40.843" v="132" actId="1076"/>
          <ac:spMkLst>
            <pc:docMk/>
            <pc:sldMk cId="1169330606" sldId="2147374733"/>
            <ac:spMk id="15" creationId="{63EAA7B3-A1A1-BB66-B78A-57E263402BFA}"/>
          </ac:spMkLst>
        </pc:spChg>
        <pc:spChg chg="mod">
          <ac:chgData name="Nishikant Bhaskar Surwade" userId="495076cc-52fc-426c-b589-27671fc457ea" providerId="ADAL" clId="{E3228ED0-0088-4AD0-85A1-5F9F474E32E2}" dt="2022-08-16T09:04:40.843" v="132" actId="1076"/>
          <ac:spMkLst>
            <pc:docMk/>
            <pc:sldMk cId="1169330606" sldId="2147374733"/>
            <ac:spMk id="16" creationId="{DE42CD8A-9E90-BB36-12A0-550DB87D85C2}"/>
          </ac:spMkLst>
        </pc:spChg>
        <pc:spChg chg="mod">
          <ac:chgData name="Nishikant Bhaskar Surwade" userId="495076cc-52fc-426c-b589-27671fc457ea" providerId="ADAL" clId="{E3228ED0-0088-4AD0-85A1-5F9F474E32E2}" dt="2022-08-16T09:04:40.843" v="132" actId="1076"/>
          <ac:spMkLst>
            <pc:docMk/>
            <pc:sldMk cId="1169330606" sldId="2147374733"/>
            <ac:spMk id="17" creationId="{7767B80A-18F2-6FDA-D017-632B658BB3E4}"/>
          </ac:spMkLst>
        </pc:spChg>
        <pc:spChg chg="mod">
          <ac:chgData name="Nishikant Bhaskar Surwade" userId="495076cc-52fc-426c-b589-27671fc457ea" providerId="ADAL" clId="{E3228ED0-0088-4AD0-85A1-5F9F474E32E2}" dt="2022-08-16T09:04:40.843" v="132" actId="1076"/>
          <ac:spMkLst>
            <pc:docMk/>
            <pc:sldMk cId="1169330606" sldId="2147374733"/>
            <ac:spMk id="18" creationId="{DE2C47C4-1F09-A1CA-6101-1D455F119B56}"/>
          </ac:spMkLst>
        </pc:spChg>
        <pc:spChg chg="mod">
          <ac:chgData name="Nishikant Bhaskar Surwade" userId="495076cc-52fc-426c-b589-27671fc457ea" providerId="ADAL" clId="{E3228ED0-0088-4AD0-85A1-5F9F474E32E2}" dt="2022-08-16T09:04:40.843" v="132" actId="1076"/>
          <ac:spMkLst>
            <pc:docMk/>
            <pc:sldMk cId="1169330606" sldId="2147374733"/>
            <ac:spMk id="19" creationId="{0E6E67A5-0F7B-922C-74E8-7E41AAEA4C82}"/>
          </ac:spMkLst>
        </pc:spChg>
        <pc:spChg chg="mod">
          <ac:chgData name="Nishikant Bhaskar Surwade" userId="495076cc-52fc-426c-b589-27671fc457ea" providerId="ADAL" clId="{E3228ED0-0088-4AD0-85A1-5F9F474E32E2}" dt="2022-08-16T09:04:40.843" v="132" actId="1076"/>
          <ac:spMkLst>
            <pc:docMk/>
            <pc:sldMk cId="1169330606" sldId="2147374733"/>
            <ac:spMk id="20" creationId="{F4DDBA55-F6C3-F888-0E73-CA3C3873A077}"/>
          </ac:spMkLst>
        </pc:spChg>
        <pc:spChg chg="mod">
          <ac:chgData name="Nishikant Bhaskar Surwade" userId="495076cc-52fc-426c-b589-27671fc457ea" providerId="ADAL" clId="{E3228ED0-0088-4AD0-85A1-5F9F474E32E2}" dt="2022-08-16T09:04:40.843" v="132" actId="1076"/>
          <ac:spMkLst>
            <pc:docMk/>
            <pc:sldMk cId="1169330606" sldId="2147374733"/>
            <ac:spMk id="21" creationId="{161744C5-8E3B-4627-7D5B-36819E71D168}"/>
          </ac:spMkLst>
        </pc:spChg>
        <pc:spChg chg="mod">
          <ac:chgData name="Nishikant Bhaskar Surwade" userId="495076cc-52fc-426c-b589-27671fc457ea" providerId="ADAL" clId="{E3228ED0-0088-4AD0-85A1-5F9F474E32E2}" dt="2022-08-16T09:04:40.843" v="132" actId="1076"/>
          <ac:spMkLst>
            <pc:docMk/>
            <pc:sldMk cId="1169330606" sldId="2147374733"/>
            <ac:spMk id="22" creationId="{4D0DA184-1BFF-3807-6228-3B4B87BEA729}"/>
          </ac:spMkLst>
        </pc:spChg>
        <pc:spChg chg="mod">
          <ac:chgData name="Nishikant Bhaskar Surwade" userId="495076cc-52fc-426c-b589-27671fc457ea" providerId="ADAL" clId="{E3228ED0-0088-4AD0-85A1-5F9F474E32E2}" dt="2022-08-16T09:04:40.843" v="132" actId="1076"/>
          <ac:spMkLst>
            <pc:docMk/>
            <pc:sldMk cId="1169330606" sldId="2147374733"/>
            <ac:spMk id="23" creationId="{9F6AEF7D-91F2-795B-8998-7FCFE396A0AB}"/>
          </ac:spMkLst>
        </pc:spChg>
        <pc:spChg chg="mod">
          <ac:chgData name="Nishikant Bhaskar Surwade" userId="495076cc-52fc-426c-b589-27671fc457ea" providerId="ADAL" clId="{E3228ED0-0088-4AD0-85A1-5F9F474E32E2}" dt="2022-08-16T09:04:40.843" v="132" actId="1076"/>
          <ac:spMkLst>
            <pc:docMk/>
            <pc:sldMk cId="1169330606" sldId="2147374733"/>
            <ac:spMk id="24" creationId="{CB166955-3012-7BCA-D1E6-FF0F79FD70E4}"/>
          </ac:spMkLst>
        </pc:spChg>
        <pc:spChg chg="add mod">
          <ac:chgData name="Nishikant Bhaskar Surwade" userId="495076cc-52fc-426c-b589-27671fc457ea" providerId="ADAL" clId="{E3228ED0-0088-4AD0-85A1-5F9F474E32E2}" dt="2022-08-16T09:09:11.324" v="158" actId="1076"/>
          <ac:spMkLst>
            <pc:docMk/>
            <pc:sldMk cId="1169330606" sldId="2147374733"/>
            <ac:spMk id="29" creationId="{E4BBFE7F-AD4B-0485-AF59-60C1773E453B}"/>
          </ac:spMkLst>
        </pc:spChg>
        <pc:spChg chg="add mod">
          <ac:chgData name="Nishikant Bhaskar Surwade" userId="495076cc-52fc-426c-b589-27671fc457ea" providerId="ADAL" clId="{E3228ED0-0088-4AD0-85A1-5F9F474E32E2}" dt="2022-08-16T09:09:03.755" v="157" actId="1076"/>
          <ac:spMkLst>
            <pc:docMk/>
            <pc:sldMk cId="1169330606" sldId="2147374733"/>
            <ac:spMk id="30" creationId="{BB020417-2E7B-9743-7CA9-844148C76CB8}"/>
          </ac:spMkLst>
        </pc:spChg>
        <pc:spChg chg="add mod">
          <ac:chgData name="Nishikant Bhaskar Surwade" userId="495076cc-52fc-426c-b589-27671fc457ea" providerId="ADAL" clId="{E3228ED0-0088-4AD0-85A1-5F9F474E32E2}" dt="2022-08-16T09:08:58.360" v="156" actId="1076"/>
          <ac:spMkLst>
            <pc:docMk/>
            <pc:sldMk cId="1169330606" sldId="2147374733"/>
            <ac:spMk id="31" creationId="{D40CE3C4-9351-52A7-D0F0-604C611250CE}"/>
          </ac:spMkLst>
        </pc:spChg>
        <pc:spChg chg="add mod">
          <ac:chgData name="Nishikant Bhaskar Surwade" userId="495076cc-52fc-426c-b589-27671fc457ea" providerId="ADAL" clId="{E3228ED0-0088-4AD0-85A1-5F9F474E32E2}" dt="2022-08-16T09:07:29.978" v="152" actId="1076"/>
          <ac:spMkLst>
            <pc:docMk/>
            <pc:sldMk cId="1169330606" sldId="2147374733"/>
            <ac:spMk id="32" creationId="{33E5D227-A193-98E7-DFCD-F48DB96D7F17}"/>
          </ac:spMkLst>
        </pc:spChg>
        <pc:spChg chg="add mod">
          <ac:chgData name="Nishikant Bhaskar Surwade" userId="495076cc-52fc-426c-b589-27671fc457ea" providerId="ADAL" clId="{E3228ED0-0088-4AD0-85A1-5F9F474E32E2}" dt="2022-08-16T09:07:21.445" v="151" actId="1076"/>
          <ac:spMkLst>
            <pc:docMk/>
            <pc:sldMk cId="1169330606" sldId="2147374733"/>
            <ac:spMk id="33" creationId="{B29B8C92-D575-806A-C10A-D83F379F2864}"/>
          </ac:spMkLst>
        </pc:spChg>
        <pc:spChg chg="add mod">
          <ac:chgData name="Nishikant Bhaskar Surwade" userId="495076cc-52fc-426c-b589-27671fc457ea" providerId="ADAL" clId="{E3228ED0-0088-4AD0-85A1-5F9F474E32E2}" dt="2022-08-16T09:10:02.386" v="168" actId="20577"/>
          <ac:spMkLst>
            <pc:docMk/>
            <pc:sldMk cId="1169330606" sldId="2147374733"/>
            <ac:spMk id="37" creationId="{3156679A-01E4-4262-05B1-FDEDE6B698F5}"/>
          </ac:spMkLst>
        </pc:spChg>
        <pc:spChg chg="add mod">
          <ac:chgData name="Nishikant Bhaskar Surwade" userId="495076cc-52fc-426c-b589-27671fc457ea" providerId="ADAL" clId="{E3228ED0-0088-4AD0-85A1-5F9F474E32E2}" dt="2022-08-16T09:09:21.381" v="160" actId="1076"/>
          <ac:spMkLst>
            <pc:docMk/>
            <pc:sldMk cId="1169330606" sldId="2147374733"/>
            <ac:spMk id="38" creationId="{B9E1FA6A-AE8D-C4B8-EE3F-4548D06B55BB}"/>
          </ac:spMkLst>
        </pc:spChg>
        <pc:grpChg chg="mod">
          <ac:chgData name="Nishikant Bhaskar Surwade" userId="495076cc-52fc-426c-b589-27671fc457ea" providerId="ADAL" clId="{E3228ED0-0088-4AD0-85A1-5F9F474E32E2}" dt="2022-08-16T09:04:40.843" v="132" actId="1076"/>
          <ac:grpSpMkLst>
            <pc:docMk/>
            <pc:sldMk cId="1169330606" sldId="2147374733"/>
            <ac:grpSpMk id="2" creationId="{2D7EF27C-DCD8-06DD-6A5E-CB67ADB4A6EC}"/>
          </ac:grpSpMkLst>
        </pc:grpChg>
        <pc:grpChg chg="mod">
          <ac:chgData name="Nishikant Bhaskar Surwade" userId="495076cc-52fc-426c-b589-27671fc457ea" providerId="ADAL" clId="{E3228ED0-0088-4AD0-85A1-5F9F474E32E2}" dt="2022-08-16T09:07:10.273" v="148" actId="1076"/>
          <ac:grpSpMkLst>
            <pc:docMk/>
            <pc:sldMk cId="1169330606" sldId="2147374733"/>
            <ac:grpSpMk id="25" creationId="{BF6D9923-0EC3-C2B3-03C3-9C0F38AE28BE}"/>
          </ac:grpSpMkLst>
        </pc:grpChg>
        <pc:graphicFrameChg chg="mod">
          <ac:chgData name="Nishikant Bhaskar Surwade" userId="495076cc-52fc-426c-b589-27671fc457ea" providerId="ADAL" clId="{E3228ED0-0088-4AD0-85A1-5F9F474E32E2}" dt="2022-08-16T09:04:27.051" v="131" actId="14100"/>
          <ac:graphicFrameMkLst>
            <pc:docMk/>
            <pc:sldMk cId="1169330606" sldId="2147374733"/>
            <ac:graphicFrameMk id="3" creationId="{F4CA771E-DB23-F48B-AAFE-DA9ACF3B12C9}"/>
          </ac:graphicFrameMkLst>
        </pc:graphicFrameChg>
        <pc:picChg chg="mod">
          <ac:chgData name="Nishikant Bhaskar Surwade" userId="495076cc-52fc-426c-b589-27671fc457ea" providerId="ADAL" clId="{E3228ED0-0088-4AD0-85A1-5F9F474E32E2}" dt="2022-08-16T09:04:47.500" v="133" actId="1076"/>
          <ac:picMkLst>
            <pc:docMk/>
            <pc:sldMk cId="1169330606" sldId="2147374733"/>
            <ac:picMk id="6" creationId="{C068F336-4DE3-513D-9F43-76046B349061}"/>
          </ac:picMkLst>
        </pc:picChg>
        <pc:picChg chg="mod">
          <ac:chgData name="Nishikant Bhaskar Surwade" userId="495076cc-52fc-426c-b589-27671fc457ea" providerId="ADAL" clId="{E3228ED0-0088-4AD0-85A1-5F9F474E32E2}" dt="2022-08-16T09:05:00.544" v="135" actId="1076"/>
          <ac:picMkLst>
            <pc:docMk/>
            <pc:sldMk cId="1169330606" sldId="2147374733"/>
            <ac:picMk id="8" creationId="{78701D2D-821B-CDB2-6A2F-35689BC3DB83}"/>
          </ac:picMkLst>
        </pc:picChg>
        <pc:picChg chg="mod">
          <ac:chgData name="Nishikant Bhaskar Surwade" userId="495076cc-52fc-426c-b589-27671fc457ea" providerId="ADAL" clId="{E3228ED0-0088-4AD0-85A1-5F9F474E32E2}" dt="2022-08-16T09:05:05.211" v="136" actId="1076"/>
          <ac:picMkLst>
            <pc:docMk/>
            <pc:sldMk cId="1169330606" sldId="2147374733"/>
            <ac:picMk id="9" creationId="{A1E69B08-9A62-2884-3DBD-E124F165035F}"/>
          </ac:picMkLst>
        </pc:picChg>
        <pc:picChg chg="mod">
          <ac:chgData name="Nishikant Bhaskar Surwade" userId="495076cc-52fc-426c-b589-27671fc457ea" providerId="ADAL" clId="{E3228ED0-0088-4AD0-85A1-5F9F474E32E2}" dt="2022-08-16T09:05:11.382" v="137" actId="1076"/>
          <ac:picMkLst>
            <pc:docMk/>
            <pc:sldMk cId="1169330606" sldId="2147374733"/>
            <ac:picMk id="10" creationId="{26CBF717-5548-98F0-6A5B-622F6CE7F678}"/>
          </ac:picMkLst>
        </pc:picChg>
        <pc:picChg chg="del mod">
          <ac:chgData name="Nishikant Bhaskar Surwade" userId="495076cc-52fc-426c-b589-27671fc457ea" providerId="ADAL" clId="{E3228ED0-0088-4AD0-85A1-5F9F474E32E2}" dt="2022-08-16T09:07:13.174" v="149" actId="478"/>
          <ac:picMkLst>
            <pc:docMk/>
            <pc:sldMk cId="1169330606" sldId="2147374733"/>
            <ac:picMk id="11" creationId="{2B8EEF0E-E825-A955-CEFA-3AF0B39CC157}"/>
          </ac:picMkLst>
        </pc:picChg>
        <pc:picChg chg="add mod">
          <ac:chgData name="Nishikant Bhaskar Surwade" userId="495076cc-52fc-426c-b589-27671fc457ea" providerId="ADAL" clId="{E3228ED0-0088-4AD0-85A1-5F9F474E32E2}" dt="2022-08-16T09:07:17.407" v="150" actId="1076"/>
          <ac:picMkLst>
            <pc:docMk/>
            <pc:sldMk cId="1169330606" sldId="2147374733"/>
            <ac:picMk id="34" creationId="{336CEB32-318D-0F82-0631-72763B26B5E3}"/>
          </ac:picMkLst>
        </pc:picChg>
        <pc:picChg chg="add mod">
          <ac:chgData name="Nishikant Bhaskar Surwade" userId="495076cc-52fc-426c-b589-27671fc457ea" providerId="ADAL" clId="{E3228ED0-0088-4AD0-85A1-5F9F474E32E2}" dt="2022-08-16T09:05:17.784" v="139" actId="1076"/>
          <ac:picMkLst>
            <pc:docMk/>
            <pc:sldMk cId="1169330606" sldId="2147374733"/>
            <ac:picMk id="35" creationId="{44033FB4-E62A-81F5-83FE-40E6633A7367}"/>
          </ac:picMkLst>
        </pc:picChg>
        <pc:picChg chg="add mod">
          <ac:chgData name="Nishikant Bhaskar Surwade" userId="495076cc-52fc-426c-b589-27671fc457ea" providerId="ADAL" clId="{E3228ED0-0088-4AD0-85A1-5F9F474E32E2}" dt="2022-08-16T09:05:24.410" v="141" actId="1076"/>
          <ac:picMkLst>
            <pc:docMk/>
            <pc:sldMk cId="1169330606" sldId="2147374733"/>
            <ac:picMk id="36" creationId="{6870F490-347E-47F2-1D92-AF7A7CE2508B}"/>
          </ac:picMkLst>
        </pc:picChg>
      </pc:sldChg>
    </pc:docChg>
  </pc:docChgLst>
  <pc:docChgLst>
    <pc:chgData name="Nishikant Bhaskar Surwade" userId="495076cc-52fc-426c-b589-27671fc457ea" providerId="ADAL" clId="{94B0FC64-84D3-4A9C-B5AE-2124FA83E5FD}"/>
    <pc:docChg chg="custSel addSld delSld modSld sldOrd addSection delSection modSection">
      <pc:chgData name="Nishikant Bhaskar Surwade" userId="495076cc-52fc-426c-b589-27671fc457ea" providerId="ADAL" clId="{94B0FC64-84D3-4A9C-B5AE-2124FA83E5FD}" dt="2022-08-12T12:50:53.375" v="2270"/>
      <pc:docMkLst>
        <pc:docMk/>
      </pc:docMkLst>
      <pc:sldChg chg="add del">
        <pc:chgData name="Nishikant Bhaskar Surwade" userId="495076cc-52fc-426c-b589-27671fc457ea" providerId="ADAL" clId="{94B0FC64-84D3-4A9C-B5AE-2124FA83E5FD}" dt="2022-08-12T12:01:20.479" v="2101" actId="47"/>
        <pc:sldMkLst>
          <pc:docMk/>
          <pc:sldMk cId="133831258" sldId="324"/>
        </pc:sldMkLst>
      </pc:sldChg>
      <pc:sldChg chg="del mod modShow">
        <pc:chgData name="Nishikant Bhaskar Surwade" userId="495076cc-52fc-426c-b589-27671fc457ea" providerId="ADAL" clId="{94B0FC64-84D3-4A9C-B5AE-2124FA83E5FD}" dt="2022-08-12T11:37:34.368" v="1501" actId="2696"/>
        <pc:sldMkLst>
          <pc:docMk/>
          <pc:sldMk cId="2434895196" sldId="324"/>
        </pc:sldMkLst>
      </pc:sldChg>
      <pc:sldChg chg="add del">
        <pc:chgData name="Nishikant Bhaskar Surwade" userId="495076cc-52fc-426c-b589-27671fc457ea" providerId="ADAL" clId="{94B0FC64-84D3-4A9C-B5AE-2124FA83E5FD}" dt="2022-08-12T12:01:20.479" v="2101" actId="47"/>
        <pc:sldMkLst>
          <pc:docMk/>
          <pc:sldMk cId="2551244413" sldId="345"/>
        </pc:sldMkLst>
      </pc:sldChg>
      <pc:sldChg chg="del mod modShow">
        <pc:chgData name="Nishikant Bhaskar Surwade" userId="495076cc-52fc-426c-b589-27671fc457ea" providerId="ADAL" clId="{94B0FC64-84D3-4A9C-B5AE-2124FA83E5FD}" dt="2022-08-12T11:37:34.368" v="1501" actId="2696"/>
        <pc:sldMkLst>
          <pc:docMk/>
          <pc:sldMk cId="3129861020" sldId="345"/>
        </pc:sldMkLst>
      </pc:sldChg>
      <pc:sldChg chg="add del">
        <pc:chgData name="Nishikant Bhaskar Surwade" userId="495076cc-52fc-426c-b589-27671fc457ea" providerId="ADAL" clId="{94B0FC64-84D3-4A9C-B5AE-2124FA83E5FD}" dt="2022-08-12T12:01:20.479" v="2101" actId="47"/>
        <pc:sldMkLst>
          <pc:docMk/>
          <pc:sldMk cId="1795819467" sldId="477"/>
        </pc:sldMkLst>
      </pc:sldChg>
      <pc:sldChg chg="del mod modShow">
        <pc:chgData name="Nishikant Bhaskar Surwade" userId="495076cc-52fc-426c-b589-27671fc457ea" providerId="ADAL" clId="{94B0FC64-84D3-4A9C-B5AE-2124FA83E5FD}" dt="2022-08-12T11:37:34.368" v="1501" actId="2696"/>
        <pc:sldMkLst>
          <pc:docMk/>
          <pc:sldMk cId="2075313616" sldId="477"/>
        </pc:sldMkLst>
      </pc:sldChg>
      <pc:sldChg chg="del mod modShow">
        <pc:chgData name="Nishikant Bhaskar Surwade" userId="495076cc-52fc-426c-b589-27671fc457ea" providerId="ADAL" clId="{94B0FC64-84D3-4A9C-B5AE-2124FA83E5FD}" dt="2022-08-12T11:37:34.368" v="1501" actId="2696"/>
        <pc:sldMkLst>
          <pc:docMk/>
          <pc:sldMk cId="1892143593" sldId="767"/>
        </pc:sldMkLst>
      </pc:sldChg>
      <pc:sldChg chg="add del">
        <pc:chgData name="Nishikant Bhaskar Surwade" userId="495076cc-52fc-426c-b589-27671fc457ea" providerId="ADAL" clId="{94B0FC64-84D3-4A9C-B5AE-2124FA83E5FD}" dt="2022-08-12T12:01:20.479" v="2101" actId="47"/>
        <pc:sldMkLst>
          <pc:docMk/>
          <pc:sldMk cId="2687753688" sldId="767"/>
        </pc:sldMkLst>
      </pc:sldChg>
      <pc:sldChg chg="add del">
        <pc:chgData name="Nishikant Bhaskar Surwade" userId="495076cc-52fc-426c-b589-27671fc457ea" providerId="ADAL" clId="{94B0FC64-84D3-4A9C-B5AE-2124FA83E5FD}" dt="2022-08-12T12:01:20.479" v="2101" actId="47"/>
        <pc:sldMkLst>
          <pc:docMk/>
          <pc:sldMk cId="1832792691" sldId="857"/>
        </pc:sldMkLst>
      </pc:sldChg>
      <pc:sldChg chg="del mod modShow">
        <pc:chgData name="Nishikant Bhaskar Surwade" userId="495076cc-52fc-426c-b589-27671fc457ea" providerId="ADAL" clId="{94B0FC64-84D3-4A9C-B5AE-2124FA83E5FD}" dt="2022-08-12T11:37:34.368" v="1501" actId="2696"/>
        <pc:sldMkLst>
          <pc:docMk/>
          <pc:sldMk cId="3337931744" sldId="857"/>
        </pc:sldMkLst>
      </pc:sldChg>
      <pc:sldChg chg="modTransition">
        <pc:chgData name="Nishikant Bhaskar Surwade" userId="495076cc-52fc-426c-b589-27671fc457ea" providerId="ADAL" clId="{94B0FC64-84D3-4A9C-B5AE-2124FA83E5FD}" dt="2022-08-12T11:34:10.321" v="1491"/>
        <pc:sldMkLst>
          <pc:docMk/>
          <pc:sldMk cId="3752693510" sldId="2348"/>
        </pc:sldMkLst>
      </pc:sldChg>
      <pc:sldChg chg="mod ord modShow">
        <pc:chgData name="Nishikant Bhaskar Surwade" userId="495076cc-52fc-426c-b589-27671fc457ea" providerId="ADAL" clId="{94B0FC64-84D3-4A9C-B5AE-2124FA83E5FD}" dt="2022-08-12T11:37:25.643" v="1500"/>
        <pc:sldMkLst>
          <pc:docMk/>
          <pc:sldMk cId="1431606982" sldId="2355"/>
        </pc:sldMkLst>
      </pc:sldChg>
      <pc:sldChg chg="add del">
        <pc:chgData name="Nishikant Bhaskar Surwade" userId="495076cc-52fc-426c-b589-27671fc457ea" providerId="ADAL" clId="{94B0FC64-84D3-4A9C-B5AE-2124FA83E5FD}" dt="2022-08-12T12:01:20.479" v="2101" actId="47"/>
        <pc:sldMkLst>
          <pc:docMk/>
          <pc:sldMk cId="626858995" sldId="2357"/>
        </pc:sldMkLst>
      </pc:sldChg>
      <pc:sldChg chg="add del mod modShow">
        <pc:chgData name="Nishikant Bhaskar Surwade" userId="495076cc-52fc-426c-b589-27671fc457ea" providerId="ADAL" clId="{94B0FC64-84D3-4A9C-B5AE-2124FA83E5FD}" dt="2022-08-12T12:28:27.636" v="2212"/>
        <pc:sldMkLst>
          <pc:docMk/>
          <pc:sldMk cId="833639357" sldId="2357"/>
        </pc:sldMkLst>
      </pc:sldChg>
      <pc:sldChg chg="add del">
        <pc:chgData name="Nishikant Bhaskar Surwade" userId="495076cc-52fc-426c-b589-27671fc457ea" providerId="ADAL" clId="{94B0FC64-84D3-4A9C-B5AE-2124FA83E5FD}" dt="2022-08-12T12:01:20.479" v="2101" actId="47"/>
        <pc:sldMkLst>
          <pc:docMk/>
          <pc:sldMk cId="2353625091" sldId="4443"/>
        </pc:sldMkLst>
      </pc:sldChg>
      <pc:sldChg chg="del mod modShow">
        <pc:chgData name="Nishikant Bhaskar Surwade" userId="495076cc-52fc-426c-b589-27671fc457ea" providerId="ADAL" clId="{94B0FC64-84D3-4A9C-B5AE-2124FA83E5FD}" dt="2022-08-12T11:37:34.368" v="1501" actId="2696"/>
        <pc:sldMkLst>
          <pc:docMk/>
          <pc:sldMk cId="3390803106" sldId="4443"/>
        </pc:sldMkLst>
      </pc:sldChg>
      <pc:sldChg chg="add del">
        <pc:chgData name="Nishikant Bhaskar Surwade" userId="495076cc-52fc-426c-b589-27671fc457ea" providerId="ADAL" clId="{94B0FC64-84D3-4A9C-B5AE-2124FA83E5FD}" dt="2022-08-12T12:01:20.479" v="2101" actId="47"/>
        <pc:sldMkLst>
          <pc:docMk/>
          <pc:sldMk cId="1259170442" sldId="4444"/>
        </pc:sldMkLst>
      </pc:sldChg>
      <pc:sldChg chg="del mod modShow">
        <pc:chgData name="Nishikant Bhaskar Surwade" userId="495076cc-52fc-426c-b589-27671fc457ea" providerId="ADAL" clId="{94B0FC64-84D3-4A9C-B5AE-2124FA83E5FD}" dt="2022-08-12T11:37:34.368" v="1501" actId="2696"/>
        <pc:sldMkLst>
          <pc:docMk/>
          <pc:sldMk cId="2129883412" sldId="4444"/>
        </pc:sldMkLst>
      </pc:sldChg>
      <pc:sldChg chg="del mod modShow">
        <pc:chgData name="Nishikant Bhaskar Surwade" userId="495076cc-52fc-426c-b589-27671fc457ea" providerId="ADAL" clId="{94B0FC64-84D3-4A9C-B5AE-2124FA83E5FD}" dt="2022-08-12T11:37:34.368" v="1501" actId="2696"/>
        <pc:sldMkLst>
          <pc:docMk/>
          <pc:sldMk cId="2072163803" sldId="4455"/>
        </pc:sldMkLst>
      </pc:sldChg>
      <pc:sldChg chg="add del">
        <pc:chgData name="Nishikant Bhaskar Surwade" userId="495076cc-52fc-426c-b589-27671fc457ea" providerId="ADAL" clId="{94B0FC64-84D3-4A9C-B5AE-2124FA83E5FD}" dt="2022-08-12T12:01:20.479" v="2101" actId="47"/>
        <pc:sldMkLst>
          <pc:docMk/>
          <pc:sldMk cId="4287900413" sldId="4455"/>
        </pc:sldMkLst>
      </pc:sldChg>
      <pc:sldChg chg="del mod modShow">
        <pc:chgData name="Nishikant Bhaskar Surwade" userId="495076cc-52fc-426c-b589-27671fc457ea" providerId="ADAL" clId="{94B0FC64-84D3-4A9C-B5AE-2124FA83E5FD}" dt="2022-08-12T11:37:34.368" v="1501" actId="2696"/>
        <pc:sldMkLst>
          <pc:docMk/>
          <pc:sldMk cId="0" sldId="4471"/>
        </pc:sldMkLst>
      </pc:sldChg>
      <pc:sldChg chg="add del">
        <pc:chgData name="Nishikant Bhaskar Surwade" userId="495076cc-52fc-426c-b589-27671fc457ea" providerId="ADAL" clId="{94B0FC64-84D3-4A9C-B5AE-2124FA83E5FD}" dt="2022-08-12T12:01:20.479" v="2101" actId="47"/>
        <pc:sldMkLst>
          <pc:docMk/>
          <pc:sldMk cId="1285396214" sldId="4471"/>
        </pc:sldMkLst>
      </pc:sldChg>
      <pc:sldChg chg="del mod modShow">
        <pc:chgData name="Nishikant Bhaskar Surwade" userId="495076cc-52fc-426c-b589-27671fc457ea" providerId="ADAL" clId="{94B0FC64-84D3-4A9C-B5AE-2124FA83E5FD}" dt="2022-08-12T11:37:34.368" v="1501" actId="2696"/>
        <pc:sldMkLst>
          <pc:docMk/>
          <pc:sldMk cId="1347588203" sldId="2147374684"/>
        </pc:sldMkLst>
      </pc:sldChg>
      <pc:sldChg chg="add del">
        <pc:chgData name="Nishikant Bhaskar Surwade" userId="495076cc-52fc-426c-b589-27671fc457ea" providerId="ADAL" clId="{94B0FC64-84D3-4A9C-B5AE-2124FA83E5FD}" dt="2022-08-12T12:01:20.479" v="2101" actId="47"/>
        <pc:sldMkLst>
          <pc:docMk/>
          <pc:sldMk cId="1388120942" sldId="2147374684"/>
        </pc:sldMkLst>
      </pc:sldChg>
      <pc:sldChg chg="add del">
        <pc:chgData name="Nishikant Bhaskar Surwade" userId="495076cc-52fc-426c-b589-27671fc457ea" providerId="ADAL" clId="{94B0FC64-84D3-4A9C-B5AE-2124FA83E5FD}" dt="2022-08-12T12:01:20.479" v="2101" actId="47"/>
        <pc:sldMkLst>
          <pc:docMk/>
          <pc:sldMk cId="1470272597" sldId="2147374685"/>
        </pc:sldMkLst>
      </pc:sldChg>
      <pc:sldChg chg="del mod modShow">
        <pc:chgData name="Nishikant Bhaskar Surwade" userId="495076cc-52fc-426c-b589-27671fc457ea" providerId="ADAL" clId="{94B0FC64-84D3-4A9C-B5AE-2124FA83E5FD}" dt="2022-08-12T11:37:34.368" v="1501" actId="2696"/>
        <pc:sldMkLst>
          <pc:docMk/>
          <pc:sldMk cId="3789604019" sldId="2147374685"/>
        </pc:sldMkLst>
      </pc:sldChg>
      <pc:sldChg chg="del mod modShow">
        <pc:chgData name="Nishikant Bhaskar Surwade" userId="495076cc-52fc-426c-b589-27671fc457ea" providerId="ADAL" clId="{94B0FC64-84D3-4A9C-B5AE-2124FA83E5FD}" dt="2022-08-12T11:37:34.368" v="1501" actId="2696"/>
        <pc:sldMkLst>
          <pc:docMk/>
          <pc:sldMk cId="751769523" sldId="2147374687"/>
        </pc:sldMkLst>
      </pc:sldChg>
      <pc:sldChg chg="add del">
        <pc:chgData name="Nishikant Bhaskar Surwade" userId="495076cc-52fc-426c-b589-27671fc457ea" providerId="ADAL" clId="{94B0FC64-84D3-4A9C-B5AE-2124FA83E5FD}" dt="2022-08-12T12:01:20.479" v="2101" actId="47"/>
        <pc:sldMkLst>
          <pc:docMk/>
          <pc:sldMk cId="1137507793" sldId="2147374687"/>
        </pc:sldMkLst>
      </pc:sldChg>
      <pc:sldChg chg="del mod modShow">
        <pc:chgData name="Nishikant Bhaskar Surwade" userId="495076cc-52fc-426c-b589-27671fc457ea" providerId="ADAL" clId="{94B0FC64-84D3-4A9C-B5AE-2124FA83E5FD}" dt="2022-08-12T11:37:34.368" v="1501" actId="2696"/>
        <pc:sldMkLst>
          <pc:docMk/>
          <pc:sldMk cId="2498544612" sldId="2147374688"/>
        </pc:sldMkLst>
      </pc:sldChg>
      <pc:sldChg chg="add del">
        <pc:chgData name="Nishikant Bhaskar Surwade" userId="495076cc-52fc-426c-b589-27671fc457ea" providerId="ADAL" clId="{94B0FC64-84D3-4A9C-B5AE-2124FA83E5FD}" dt="2022-08-12T12:01:20.479" v="2101" actId="47"/>
        <pc:sldMkLst>
          <pc:docMk/>
          <pc:sldMk cId="3625686709" sldId="2147374688"/>
        </pc:sldMkLst>
      </pc:sldChg>
      <pc:sldChg chg="add del">
        <pc:chgData name="Nishikant Bhaskar Surwade" userId="495076cc-52fc-426c-b589-27671fc457ea" providerId="ADAL" clId="{94B0FC64-84D3-4A9C-B5AE-2124FA83E5FD}" dt="2022-08-12T12:01:20.479" v="2101" actId="47"/>
        <pc:sldMkLst>
          <pc:docMk/>
          <pc:sldMk cId="3516309645" sldId="2147374689"/>
        </pc:sldMkLst>
      </pc:sldChg>
      <pc:sldChg chg="del mod modShow">
        <pc:chgData name="Nishikant Bhaskar Surwade" userId="495076cc-52fc-426c-b589-27671fc457ea" providerId="ADAL" clId="{94B0FC64-84D3-4A9C-B5AE-2124FA83E5FD}" dt="2022-08-12T11:37:34.368" v="1501" actId="2696"/>
        <pc:sldMkLst>
          <pc:docMk/>
          <pc:sldMk cId="3535624212" sldId="2147374689"/>
        </pc:sldMkLst>
      </pc:sldChg>
      <pc:sldChg chg="del mod modShow">
        <pc:chgData name="Nishikant Bhaskar Surwade" userId="495076cc-52fc-426c-b589-27671fc457ea" providerId="ADAL" clId="{94B0FC64-84D3-4A9C-B5AE-2124FA83E5FD}" dt="2022-08-12T11:37:34.368" v="1501" actId="2696"/>
        <pc:sldMkLst>
          <pc:docMk/>
          <pc:sldMk cId="1845684019" sldId="2147374690"/>
        </pc:sldMkLst>
      </pc:sldChg>
      <pc:sldChg chg="add del">
        <pc:chgData name="Nishikant Bhaskar Surwade" userId="495076cc-52fc-426c-b589-27671fc457ea" providerId="ADAL" clId="{94B0FC64-84D3-4A9C-B5AE-2124FA83E5FD}" dt="2022-08-12T12:01:20.479" v="2101" actId="47"/>
        <pc:sldMkLst>
          <pc:docMk/>
          <pc:sldMk cId="3293699604" sldId="2147374690"/>
        </pc:sldMkLst>
      </pc:sldChg>
      <pc:sldChg chg="del mod modShow">
        <pc:chgData name="Nishikant Bhaskar Surwade" userId="495076cc-52fc-426c-b589-27671fc457ea" providerId="ADAL" clId="{94B0FC64-84D3-4A9C-B5AE-2124FA83E5FD}" dt="2022-08-12T11:37:34.368" v="1501" actId="2696"/>
        <pc:sldMkLst>
          <pc:docMk/>
          <pc:sldMk cId="434085663" sldId="2147374692"/>
        </pc:sldMkLst>
      </pc:sldChg>
      <pc:sldChg chg="add del">
        <pc:chgData name="Nishikant Bhaskar Surwade" userId="495076cc-52fc-426c-b589-27671fc457ea" providerId="ADAL" clId="{94B0FC64-84D3-4A9C-B5AE-2124FA83E5FD}" dt="2022-08-12T12:01:20.479" v="2101" actId="47"/>
        <pc:sldMkLst>
          <pc:docMk/>
          <pc:sldMk cId="3291537642" sldId="2147374692"/>
        </pc:sldMkLst>
      </pc:sldChg>
      <pc:sldChg chg="del mod modShow">
        <pc:chgData name="Nishikant Bhaskar Surwade" userId="495076cc-52fc-426c-b589-27671fc457ea" providerId="ADAL" clId="{94B0FC64-84D3-4A9C-B5AE-2124FA83E5FD}" dt="2022-08-12T11:37:34.368" v="1501" actId="2696"/>
        <pc:sldMkLst>
          <pc:docMk/>
          <pc:sldMk cId="2382663186" sldId="2147374693"/>
        </pc:sldMkLst>
      </pc:sldChg>
      <pc:sldChg chg="add del">
        <pc:chgData name="Nishikant Bhaskar Surwade" userId="495076cc-52fc-426c-b589-27671fc457ea" providerId="ADAL" clId="{94B0FC64-84D3-4A9C-B5AE-2124FA83E5FD}" dt="2022-08-12T12:01:20.479" v="2101" actId="47"/>
        <pc:sldMkLst>
          <pc:docMk/>
          <pc:sldMk cId="3954855249" sldId="2147374693"/>
        </pc:sldMkLst>
      </pc:sldChg>
      <pc:sldChg chg="add del">
        <pc:chgData name="Nishikant Bhaskar Surwade" userId="495076cc-52fc-426c-b589-27671fc457ea" providerId="ADAL" clId="{94B0FC64-84D3-4A9C-B5AE-2124FA83E5FD}" dt="2022-08-12T12:01:20.479" v="2101" actId="47"/>
        <pc:sldMkLst>
          <pc:docMk/>
          <pc:sldMk cId="886127158" sldId="2147374694"/>
        </pc:sldMkLst>
      </pc:sldChg>
      <pc:sldChg chg="del mod modShow">
        <pc:chgData name="Nishikant Bhaskar Surwade" userId="495076cc-52fc-426c-b589-27671fc457ea" providerId="ADAL" clId="{94B0FC64-84D3-4A9C-B5AE-2124FA83E5FD}" dt="2022-08-12T11:37:34.368" v="1501" actId="2696"/>
        <pc:sldMkLst>
          <pc:docMk/>
          <pc:sldMk cId="3051605725" sldId="2147374694"/>
        </pc:sldMkLst>
      </pc:sldChg>
      <pc:sldChg chg="add del">
        <pc:chgData name="Nishikant Bhaskar Surwade" userId="495076cc-52fc-426c-b589-27671fc457ea" providerId="ADAL" clId="{94B0FC64-84D3-4A9C-B5AE-2124FA83E5FD}" dt="2022-08-12T12:01:20.479" v="2101" actId="47"/>
        <pc:sldMkLst>
          <pc:docMk/>
          <pc:sldMk cId="335663605" sldId="2147374695"/>
        </pc:sldMkLst>
      </pc:sldChg>
      <pc:sldChg chg="del mod modShow">
        <pc:chgData name="Nishikant Bhaskar Surwade" userId="495076cc-52fc-426c-b589-27671fc457ea" providerId="ADAL" clId="{94B0FC64-84D3-4A9C-B5AE-2124FA83E5FD}" dt="2022-08-12T11:37:34.368" v="1501" actId="2696"/>
        <pc:sldMkLst>
          <pc:docMk/>
          <pc:sldMk cId="2711024615" sldId="2147374695"/>
        </pc:sldMkLst>
      </pc:sldChg>
      <pc:sldChg chg="add del">
        <pc:chgData name="Nishikant Bhaskar Surwade" userId="495076cc-52fc-426c-b589-27671fc457ea" providerId="ADAL" clId="{94B0FC64-84D3-4A9C-B5AE-2124FA83E5FD}" dt="2022-08-12T12:01:20.479" v="2101" actId="47"/>
        <pc:sldMkLst>
          <pc:docMk/>
          <pc:sldMk cId="2785456479" sldId="2147374696"/>
        </pc:sldMkLst>
      </pc:sldChg>
      <pc:sldChg chg="del mod modShow">
        <pc:chgData name="Nishikant Bhaskar Surwade" userId="495076cc-52fc-426c-b589-27671fc457ea" providerId="ADAL" clId="{94B0FC64-84D3-4A9C-B5AE-2124FA83E5FD}" dt="2022-08-12T11:37:34.368" v="1501" actId="2696"/>
        <pc:sldMkLst>
          <pc:docMk/>
          <pc:sldMk cId="3184694382" sldId="2147374696"/>
        </pc:sldMkLst>
      </pc:sldChg>
      <pc:sldChg chg="add del">
        <pc:chgData name="Nishikant Bhaskar Surwade" userId="495076cc-52fc-426c-b589-27671fc457ea" providerId="ADAL" clId="{94B0FC64-84D3-4A9C-B5AE-2124FA83E5FD}" dt="2022-08-12T12:01:20.479" v="2101" actId="47"/>
        <pc:sldMkLst>
          <pc:docMk/>
          <pc:sldMk cId="3867371550" sldId="2147374697"/>
        </pc:sldMkLst>
      </pc:sldChg>
      <pc:sldChg chg="del mod modShow">
        <pc:chgData name="Nishikant Bhaskar Surwade" userId="495076cc-52fc-426c-b589-27671fc457ea" providerId="ADAL" clId="{94B0FC64-84D3-4A9C-B5AE-2124FA83E5FD}" dt="2022-08-12T11:37:34.368" v="1501" actId="2696"/>
        <pc:sldMkLst>
          <pc:docMk/>
          <pc:sldMk cId="4046831098" sldId="2147374697"/>
        </pc:sldMkLst>
      </pc:sldChg>
      <pc:sldChg chg="del mod modShow">
        <pc:chgData name="Nishikant Bhaskar Surwade" userId="495076cc-52fc-426c-b589-27671fc457ea" providerId="ADAL" clId="{94B0FC64-84D3-4A9C-B5AE-2124FA83E5FD}" dt="2022-08-12T11:37:34.368" v="1501" actId="2696"/>
        <pc:sldMkLst>
          <pc:docMk/>
          <pc:sldMk cId="786543272" sldId="2147374698"/>
        </pc:sldMkLst>
      </pc:sldChg>
      <pc:sldChg chg="add del">
        <pc:chgData name="Nishikant Bhaskar Surwade" userId="495076cc-52fc-426c-b589-27671fc457ea" providerId="ADAL" clId="{94B0FC64-84D3-4A9C-B5AE-2124FA83E5FD}" dt="2022-08-12T12:01:20.479" v="2101" actId="47"/>
        <pc:sldMkLst>
          <pc:docMk/>
          <pc:sldMk cId="2520694037" sldId="2147374698"/>
        </pc:sldMkLst>
      </pc:sldChg>
      <pc:sldChg chg="del mod modShow">
        <pc:chgData name="Nishikant Bhaskar Surwade" userId="495076cc-52fc-426c-b589-27671fc457ea" providerId="ADAL" clId="{94B0FC64-84D3-4A9C-B5AE-2124FA83E5FD}" dt="2022-08-12T12:01:03.132" v="2098" actId="47"/>
        <pc:sldMkLst>
          <pc:docMk/>
          <pc:sldMk cId="320415675" sldId="2147374699"/>
        </pc:sldMkLst>
      </pc:sldChg>
      <pc:sldChg chg="del mod modShow">
        <pc:chgData name="Nishikant Bhaskar Surwade" userId="495076cc-52fc-426c-b589-27671fc457ea" providerId="ADAL" clId="{94B0FC64-84D3-4A9C-B5AE-2124FA83E5FD}" dt="2022-08-12T12:01:07.527" v="2099" actId="47"/>
        <pc:sldMkLst>
          <pc:docMk/>
          <pc:sldMk cId="1355608026" sldId="2147374700"/>
        </pc:sldMkLst>
      </pc:sldChg>
      <pc:sldChg chg="add del">
        <pc:chgData name="Nishikant Bhaskar Surwade" userId="495076cc-52fc-426c-b589-27671fc457ea" providerId="ADAL" clId="{94B0FC64-84D3-4A9C-B5AE-2124FA83E5FD}" dt="2022-08-12T12:01:20.479" v="2101" actId="47"/>
        <pc:sldMkLst>
          <pc:docMk/>
          <pc:sldMk cId="658288064" sldId="2147374701"/>
        </pc:sldMkLst>
      </pc:sldChg>
      <pc:sldChg chg="del mod modShow">
        <pc:chgData name="Nishikant Bhaskar Surwade" userId="495076cc-52fc-426c-b589-27671fc457ea" providerId="ADAL" clId="{94B0FC64-84D3-4A9C-B5AE-2124FA83E5FD}" dt="2022-08-12T11:37:34.368" v="1501" actId="2696"/>
        <pc:sldMkLst>
          <pc:docMk/>
          <pc:sldMk cId="1630966203" sldId="2147374701"/>
        </pc:sldMkLst>
      </pc:sldChg>
      <pc:sldChg chg="addSp delSp modSp add mod ord modTransition delAnim modAnim">
        <pc:chgData name="Nishikant Bhaskar Surwade" userId="495076cc-52fc-426c-b589-27671fc457ea" providerId="ADAL" clId="{94B0FC64-84D3-4A9C-B5AE-2124FA83E5FD}" dt="2022-08-12T12:29:35.891" v="2244" actId="313"/>
        <pc:sldMkLst>
          <pc:docMk/>
          <pc:sldMk cId="694368695" sldId="2147374702"/>
        </pc:sldMkLst>
        <pc:spChg chg="mod">
          <ac:chgData name="Nishikant Bhaskar Surwade" userId="495076cc-52fc-426c-b589-27671fc457ea" providerId="ADAL" clId="{94B0FC64-84D3-4A9C-B5AE-2124FA83E5FD}" dt="2022-08-12T12:29:35.891" v="2244" actId="313"/>
          <ac:spMkLst>
            <pc:docMk/>
            <pc:sldMk cId="694368695" sldId="2147374702"/>
            <ac:spMk id="2" creationId="{D4B34404-6CA6-085D-8635-06B126ED039C}"/>
          </ac:spMkLst>
        </pc:spChg>
        <pc:spChg chg="add del mod">
          <ac:chgData name="Nishikant Bhaskar Surwade" userId="495076cc-52fc-426c-b589-27671fc457ea" providerId="ADAL" clId="{94B0FC64-84D3-4A9C-B5AE-2124FA83E5FD}" dt="2022-08-12T09:24:19.135" v="483" actId="478"/>
          <ac:spMkLst>
            <pc:docMk/>
            <pc:sldMk cId="694368695" sldId="2147374702"/>
            <ac:spMk id="3" creationId="{37FAA20A-CD39-0928-563E-BC95659B087C}"/>
          </ac:spMkLst>
        </pc:spChg>
        <pc:spChg chg="mod">
          <ac:chgData name="Nishikant Bhaskar Surwade" userId="495076cc-52fc-426c-b589-27671fc457ea" providerId="ADAL" clId="{94B0FC64-84D3-4A9C-B5AE-2124FA83E5FD}" dt="2022-08-12T09:24:38.921" v="521" actId="1036"/>
          <ac:spMkLst>
            <pc:docMk/>
            <pc:sldMk cId="694368695" sldId="2147374702"/>
            <ac:spMk id="4" creationId="{201B7B84-656C-0DCA-7250-68ABD3DC2C89}"/>
          </ac:spMkLst>
        </pc:spChg>
        <pc:spChg chg="mod">
          <ac:chgData name="Nishikant Bhaskar Surwade" userId="495076cc-52fc-426c-b589-27671fc457ea" providerId="ADAL" clId="{94B0FC64-84D3-4A9C-B5AE-2124FA83E5FD}" dt="2022-08-12T11:01:14.072" v="1443" actId="1036"/>
          <ac:spMkLst>
            <pc:docMk/>
            <pc:sldMk cId="694368695" sldId="2147374702"/>
            <ac:spMk id="5" creationId="{6FCFB950-3B09-C2E7-9485-3D0BB9D1F997}"/>
          </ac:spMkLst>
        </pc:spChg>
        <pc:spChg chg="add del mod">
          <ac:chgData name="Nishikant Bhaskar Surwade" userId="495076cc-52fc-426c-b589-27671fc457ea" providerId="ADAL" clId="{94B0FC64-84D3-4A9C-B5AE-2124FA83E5FD}" dt="2022-08-12T09:24:23.638" v="484" actId="478"/>
          <ac:spMkLst>
            <pc:docMk/>
            <pc:sldMk cId="694368695" sldId="2147374702"/>
            <ac:spMk id="6" creationId="{B61B1E0B-F56E-A92A-2AF3-C0995887F1B2}"/>
          </ac:spMkLst>
        </pc:spChg>
        <pc:spChg chg="add del mod">
          <ac:chgData name="Nishikant Bhaskar Surwade" userId="495076cc-52fc-426c-b589-27671fc457ea" providerId="ADAL" clId="{94B0FC64-84D3-4A9C-B5AE-2124FA83E5FD}" dt="2022-08-12T11:00:59.546" v="1421" actId="478"/>
          <ac:spMkLst>
            <pc:docMk/>
            <pc:sldMk cId="694368695" sldId="2147374702"/>
            <ac:spMk id="7" creationId="{E803BBCB-C066-1C4F-F657-E2123249ED10}"/>
          </ac:spMkLst>
        </pc:spChg>
        <pc:spChg chg="add del mod">
          <ac:chgData name="Nishikant Bhaskar Surwade" userId="495076cc-52fc-426c-b589-27671fc457ea" providerId="ADAL" clId="{94B0FC64-84D3-4A9C-B5AE-2124FA83E5FD}" dt="2022-08-12T11:00:59.546" v="1421" actId="478"/>
          <ac:spMkLst>
            <pc:docMk/>
            <pc:sldMk cId="694368695" sldId="2147374702"/>
            <ac:spMk id="8" creationId="{699C1199-58B0-72D7-6D29-DDC6488F1A10}"/>
          </ac:spMkLst>
        </pc:spChg>
        <pc:spChg chg="mod">
          <ac:chgData name="Nishikant Bhaskar Surwade" userId="495076cc-52fc-426c-b589-27671fc457ea" providerId="ADAL" clId="{94B0FC64-84D3-4A9C-B5AE-2124FA83E5FD}" dt="2022-08-12T11:01:14.072" v="1443" actId="1036"/>
          <ac:spMkLst>
            <pc:docMk/>
            <pc:sldMk cId="694368695" sldId="2147374702"/>
            <ac:spMk id="14" creationId="{29602041-BB76-B86B-58B4-0225533E45A5}"/>
          </ac:spMkLst>
        </pc:spChg>
        <pc:spChg chg="mod">
          <ac:chgData name="Nishikant Bhaskar Surwade" userId="495076cc-52fc-426c-b589-27671fc457ea" providerId="ADAL" clId="{94B0FC64-84D3-4A9C-B5AE-2124FA83E5FD}" dt="2022-08-12T07:08:33.162" v="10" actId="20577"/>
          <ac:spMkLst>
            <pc:docMk/>
            <pc:sldMk cId="694368695" sldId="2147374702"/>
            <ac:spMk id="42" creationId="{4D6AE1FA-CCAA-9BA6-C907-B380EA1700E1}"/>
          </ac:spMkLst>
        </pc:spChg>
      </pc:sldChg>
      <pc:sldChg chg="add del mod modShow">
        <pc:chgData name="Nishikant Bhaskar Surwade" userId="495076cc-52fc-426c-b589-27671fc457ea" providerId="ADAL" clId="{94B0FC64-84D3-4A9C-B5AE-2124FA83E5FD}" dt="2022-08-12T11:37:34.368" v="1501" actId="2696"/>
        <pc:sldMkLst>
          <pc:docMk/>
          <pc:sldMk cId="1645865848" sldId="2147374703"/>
        </pc:sldMkLst>
      </pc:sldChg>
      <pc:sldChg chg="add del">
        <pc:chgData name="Nishikant Bhaskar Surwade" userId="495076cc-52fc-426c-b589-27671fc457ea" providerId="ADAL" clId="{94B0FC64-84D3-4A9C-B5AE-2124FA83E5FD}" dt="2022-08-12T12:01:16.143" v="2100" actId="47"/>
        <pc:sldMkLst>
          <pc:docMk/>
          <pc:sldMk cId="2949929822" sldId="2147374703"/>
        </pc:sldMkLst>
      </pc:sldChg>
      <pc:sldChg chg="delSp modSp add mod modTransition delAnim modAnim modShow">
        <pc:chgData name="Nishikant Bhaskar Surwade" userId="495076cc-52fc-426c-b589-27671fc457ea" providerId="ADAL" clId="{94B0FC64-84D3-4A9C-B5AE-2124FA83E5FD}" dt="2022-08-12T12:00:18.417" v="2070" actId="1076"/>
        <pc:sldMkLst>
          <pc:docMk/>
          <pc:sldMk cId="4199696347" sldId="2147374704"/>
        </pc:sldMkLst>
        <pc:spChg chg="mod">
          <ac:chgData name="Nishikant Bhaskar Surwade" userId="495076cc-52fc-426c-b589-27671fc457ea" providerId="ADAL" clId="{94B0FC64-84D3-4A9C-B5AE-2124FA83E5FD}" dt="2022-08-12T10:54:53.788" v="1402" actId="313"/>
          <ac:spMkLst>
            <pc:docMk/>
            <pc:sldMk cId="4199696347" sldId="2147374704"/>
            <ac:spMk id="2" creationId="{D4B34404-6CA6-085D-8635-06B126ED039C}"/>
          </ac:spMkLst>
        </pc:spChg>
        <pc:spChg chg="mod">
          <ac:chgData name="Nishikant Bhaskar Surwade" userId="495076cc-52fc-426c-b589-27671fc457ea" providerId="ADAL" clId="{94B0FC64-84D3-4A9C-B5AE-2124FA83E5FD}" dt="2022-08-12T12:00:18.417" v="2070" actId="1076"/>
          <ac:spMkLst>
            <pc:docMk/>
            <pc:sldMk cId="4199696347" sldId="2147374704"/>
            <ac:spMk id="4" creationId="{201B7B84-656C-0DCA-7250-68ABD3DC2C89}"/>
          </ac:spMkLst>
        </pc:spChg>
        <pc:spChg chg="del mod">
          <ac:chgData name="Nishikant Bhaskar Surwade" userId="495076cc-52fc-426c-b589-27671fc457ea" providerId="ADAL" clId="{94B0FC64-84D3-4A9C-B5AE-2124FA83E5FD}" dt="2022-08-12T10:40:07.435" v="1254" actId="478"/>
          <ac:spMkLst>
            <pc:docMk/>
            <pc:sldMk cId="4199696347" sldId="2147374704"/>
            <ac:spMk id="5" creationId="{6FCFB950-3B09-C2E7-9485-3D0BB9D1F997}"/>
          </ac:spMkLst>
        </pc:spChg>
        <pc:spChg chg="del">
          <ac:chgData name="Nishikant Bhaskar Surwade" userId="495076cc-52fc-426c-b589-27671fc457ea" providerId="ADAL" clId="{94B0FC64-84D3-4A9C-B5AE-2124FA83E5FD}" dt="2022-08-12T09:31:15.261" v="747" actId="478"/>
          <ac:spMkLst>
            <pc:docMk/>
            <pc:sldMk cId="4199696347" sldId="2147374704"/>
            <ac:spMk id="7" creationId="{E803BBCB-C066-1C4F-F657-E2123249ED10}"/>
          </ac:spMkLst>
        </pc:spChg>
        <pc:spChg chg="del">
          <ac:chgData name="Nishikant Bhaskar Surwade" userId="495076cc-52fc-426c-b589-27671fc457ea" providerId="ADAL" clId="{94B0FC64-84D3-4A9C-B5AE-2124FA83E5FD}" dt="2022-08-12T09:31:15.261" v="747" actId="478"/>
          <ac:spMkLst>
            <pc:docMk/>
            <pc:sldMk cId="4199696347" sldId="2147374704"/>
            <ac:spMk id="8" creationId="{699C1199-58B0-72D7-6D29-DDC6488F1A10}"/>
          </ac:spMkLst>
        </pc:spChg>
        <pc:spChg chg="del mod">
          <ac:chgData name="Nishikant Bhaskar Surwade" userId="495076cc-52fc-426c-b589-27671fc457ea" providerId="ADAL" clId="{94B0FC64-84D3-4A9C-B5AE-2124FA83E5FD}" dt="2022-08-12T10:40:07.435" v="1254" actId="478"/>
          <ac:spMkLst>
            <pc:docMk/>
            <pc:sldMk cId="4199696347" sldId="2147374704"/>
            <ac:spMk id="14" creationId="{29602041-BB76-B86B-58B4-0225533E45A5}"/>
          </ac:spMkLst>
        </pc:spChg>
      </pc:sldChg>
      <pc:sldChg chg="addSp delSp modSp add mod modTransition delAnim modAnim">
        <pc:chgData name="Nishikant Bhaskar Surwade" userId="495076cc-52fc-426c-b589-27671fc457ea" providerId="ADAL" clId="{94B0FC64-84D3-4A9C-B5AE-2124FA83E5FD}" dt="2022-08-12T12:20:02.755" v="2193"/>
        <pc:sldMkLst>
          <pc:docMk/>
          <pc:sldMk cId="3789672671" sldId="2147374705"/>
        </pc:sldMkLst>
        <pc:spChg chg="mod">
          <ac:chgData name="Nishikant Bhaskar Surwade" userId="495076cc-52fc-426c-b589-27671fc457ea" providerId="ADAL" clId="{94B0FC64-84D3-4A9C-B5AE-2124FA83E5FD}" dt="2022-08-12T11:58:37.248" v="2060" actId="33524"/>
          <ac:spMkLst>
            <pc:docMk/>
            <pc:sldMk cId="3789672671" sldId="2147374705"/>
            <ac:spMk id="2" creationId="{D4B34404-6CA6-085D-8635-06B126ED039C}"/>
          </ac:spMkLst>
        </pc:spChg>
        <pc:spChg chg="mod">
          <ac:chgData name="Nishikant Bhaskar Surwade" userId="495076cc-52fc-426c-b589-27671fc457ea" providerId="ADAL" clId="{94B0FC64-84D3-4A9C-B5AE-2124FA83E5FD}" dt="2022-08-12T11:02:12.528" v="1446" actId="6549"/>
          <ac:spMkLst>
            <pc:docMk/>
            <pc:sldMk cId="3789672671" sldId="2147374705"/>
            <ac:spMk id="4" creationId="{201B7B84-656C-0DCA-7250-68ABD3DC2C89}"/>
          </ac:spMkLst>
        </pc:spChg>
        <pc:spChg chg="del">
          <ac:chgData name="Nishikant Bhaskar Surwade" userId="495076cc-52fc-426c-b589-27671fc457ea" providerId="ADAL" clId="{94B0FC64-84D3-4A9C-B5AE-2124FA83E5FD}" dt="2022-08-12T11:02:42.272" v="1450" actId="478"/>
          <ac:spMkLst>
            <pc:docMk/>
            <pc:sldMk cId="3789672671" sldId="2147374705"/>
            <ac:spMk id="5" creationId="{6FCFB950-3B09-C2E7-9485-3D0BB9D1F997}"/>
          </ac:spMkLst>
        </pc:spChg>
        <pc:spChg chg="del">
          <ac:chgData name="Nishikant Bhaskar Surwade" userId="495076cc-52fc-426c-b589-27671fc457ea" providerId="ADAL" clId="{94B0FC64-84D3-4A9C-B5AE-2124FA83E5FD}" dt="2022-08-12T11:02:50.958" v="1453" actId="478"/>
          <ac:spMkLst>
            <pc:docMk/>
            <pc:sldMk cId="3789672671" sldId="2147374705"/>
            <ac:spMk id="7" creationId="{E803BBCB-C066-1C4F-F657-E2123249ED10}"/>
          </ac:spMkLst>
        </pc:spChg>
        <pc:spChg chg="del">
          <ac:chgData name="Nishikant Bhaskar Surwade" userId="495076cc-52fc-426c-b589-27671fc457ea" providerId="ADAL" clId="{94B0FC64-84D3-4A9C-B5AE-2124FA83E5FD}" dt="2022-08-12T11:02:50.958" v="1453" actId="478"/>
          <ac:spMkLst>
            <pc:docMk/>
            <pc:sldMk cId="3789672671" sldId="2147374705"/>
            <ac:spMk id="8" creationId="{699C1199-58B0-72D7-6D29-DDC6488F1A10}"/>
          </ac:spMkLst>
        </pc:spChg>
        <pc:spChg chg="del mod">
          <ac:chgData name="Nishikant Bhaskar Surwade" userId="495076cc-52fc-426c-b589-27671fc457ea" providerId="ADAL" clId="{94B0FC64-84D3-4A9C-B5AE-2124FA83E5FD}" dt="2022-08-12T11:02:47.408" v="1452" actId="478"/>
          <ac:spMkLst>
            <pc:docMk/>
            <pc:sldMk cId="3789672671" sldId="2147374705"/>
            <ac:spMk id="14" creationId="{29602041-BB76-B86B-58B4-0225533E45A5}"/>
          </ac:spMkLst>
        </pc:spChg>
        <pc:picChg chg="add mod">
          <ac:chgData name="Nishikant Bhaskar Surwade" userId="495076cc-52fc-426c-b589-27671fc457ea" providerId="ADAL" clId="{94B0FC64-84D3-4A9C-B5AE-2124FA83E5FD}" dt="2022-08-12T12:18:08.123" v="2183" actId="1076"/>
          <ac:picMkLst>
            <pc:docMk/>
            <pc:sldMk cId="3789672671" sldId="2147374705"/>
            <ac:picMk id="3" creationId="{5E76E3C2-41E6-2D9D-861D-A5D06E2D85B4}"/>
          </ac:picMkLst>
        </pc:picChg>
      </pc:sldChg>
      <pc:sldChg chg="addSp delSp modSp new mod modAnim">
        <pc:chgData name="Nishikant Bhaskar Surwade" userId="495076cc-52fc-426c-b589-27671fc457ea" providerId="ADAL" clId="{94B0FC64-84D3-4A9C-B5AE-2124FA83E5FD}" dt="2022-08-12T12:50:53.375" v="2270"/>
        <pc:sldMkLst>
          <pc:docMk/>
          <pc:sldMk cId="1955023329" sldId="2147374706"/>
        </pc:sldMkLst>
        <pc:spChg chg="del mod">
          <ac:chgData name="Nishikant Bhaskar Surwade" userId="495076cc-52fc-426c-b589-27671fc457ea" providerId="ADAL" clId="{94B0FC64-84D3-4A9C-B5AE-2124FA83E5FD}" dt="2022-08-12T11:29:19.743" v="1487" actId="478"/>
          <ac:spMkLst>
            <pc:docMk/>
            <pc:sldMk cId="1955023329" sldId="2147374706"/>
            <ac:spMk id="2" creationId="{1676B055-21BB-2E9C-6C81-7EF097938415}"/>
          </ac:spMkLst>
        </pc:spChg>
        <pc:spChg chg="add mod">
          <ac:chgData name="Nishikant Bhaskar Surwade" userId="495076cc-52fc-426c-b589-27671fc457ea" providerId="ADAL" clId="{94B0FC64-84D3-4A9C-B5AE-2124FA83E5FD}" dt="2022-08-12T11:29:14.275" v="1486" actId="1076"/>
          <ac:spMkLst>
            <pc:docMk/>
            <pc:sldMk cId="1955023329" sldId="2147374706"/>
            <ac:spMk id="4" creationId="{1B433EA2-2612-994F-CE25-9F74E03090B5}"/>
          </ac:spMkLst>
        </pc:spChg>
        <pc:graphicFrameChg chg="add mod modGraphic">
          <ac:chgData name="Nishikant Bhaskar Surwade" userId="495076cc-52fc-426c-b589-27671fc457ea" providerId="ADAL" clId="{94B0FC64-84D3-4A9C-B5AE-2124FA83E5FD}" dt="2022-08-12T11:28:35.326" v="1473" actId="13782"/>
          <ac:graphicFrameMkLst>
            <pc:docMk/>
            <pc:sldMk cId="1955023329" sldId="2147374706"/>
            <ac:graphicFrameMk id="3" creationId="{F4CA771E-DB23-F48B-AAFE-DA9ACF3B12C9}"/>
          </ac:graphicFrameMkLst>
        </pc:graphicFrameChg>
        <pc:picChg chg="add mod">
          <ac:chgData name="Nishikant Bhaskar Surwade" userId="495076cc-52fc-426c-b589-27671fc457ea" providerId="ADAL" clId="{94B0FC64-84D3-4A9C-B5AE-2124FA83E5FD}" dt="2022-08-12T12:21:00.324" v="2199" actId="1076"/>
          <ac:picMkLst>
            <pc:docMk/>
            <pc:sldMk cId="1955023329" sldId="2147374706"/>
            <ac:picMk id="6" creationId="{C0A8D125-FFC7-0736-759D-097220E54B9D}"/>
          </ac:picMkLst>
        </pc:picChg>
        <pc:picChg chg="add mod">
          <ac:chgData name="Nishikant Bhaskar Surwade" userId="495076cc-52fc-426c-b589-27671fc457ea" providerId="ADAL" clId="{94B0FC64-84D3-4A9C-B5AE-2124FA83E5FD}" dt="2022-08-12T12:49:54.823" v="2255" actId="1076"/>
          <ac:picMkLst>
            <pc:docMk/>
            <pc:sldMk cId="1955023329" sldId="2147374706"/>
            <ac:picMk id="7" creationId="{797BEED9-386B-2487-033F-2D272EE56A77}"/>
          </ac:picMkLst>
        </pc:picChg>
        <pc:picChg chg="add mod">
          <ac:chgData name="Nishikant Bhaskar Surwade" userId="495076cc-52fc-426c-b589-27671fc457ea" providerId="ADAL" clId="{94B0FC64-84D3-4A9C-B5AE-2124FA83E5FD}" dt="2022-08-12T12:50:01.687" v="2257" actId="1076"/>
          <ac:picMkLst>
            <pc:docMk/>
            <pc:sldMk cId="1955023329" sldId="2147374706"/>
            <ac:picMk id="8" creationId="{7ACF2BF6-AA40-B760-4AA2-049FA6A392B3}"/>
          </ac:picMkLst>
        </pc:picChg>
        <pc:picChg chg="add mod">
          <ac:chgData name="Nishikant Bhaskar Surwade" userId="495076cc-52fc-426c-b589-27671fc457ea" providerId="ADAL" clId="{94B0FC64-84D3-4A9C-B5AE-2124FA83E5FD}" dt="2022-08-12T12:50:06.164" v="2259" actId="1076"/>
          <ac:picMkLst>
            <pc:docMk/>
            <pc:sldMk cId="1955023329" sldId="2147374706"/>
            <ac:picMk id="9" creationId="{8267C60B-45D1-DCCB-715A-A5B196D3C56D}"/>
          </ac:picMkLst>
        </pc:picChg>
        <pc:picChg chg="add mod">
          <ac:chgData name="Nishikant Bhaskar Surwade" userId="495076cc-52fc-426c-b589-27671fc457ea" providerId="ADAL" clId="{94B0FC64-84D3-4A9C-B5AE-2124FA83E5FD}" dt="2022-08-12T12:50:12.355" v="2261" actId="1076"/>
          <ac:picMkLst>
            <pc:docMk/>
            <pc:sldMk cId="1955023329" sldId="2147374706"/>
            <ac:picMk id="10" creationId="{99DAD123-0294-CA12-BE7A-81B31EB14635}"/>
          </ac:picMkLst>
        </pc:picChg>
        <pc:picChg chg="add mod">
          <ac:chgData name="Nishikant Bhaskar Surwade" userId="495076cc-52fc-426c-b589-27671fc457ea" providerId="ADAL" clId="{94B0FC64-84D3-4A9C-B5AE-2124FA83E5FD}" dt="2022-08-12T12:50:17.641" v="2263" actId="1076"/>
          <ac:picMkLst>
            <pc:docMk/>
            <pc:sldMk cId="1955023329" sldId="2147374706"/>
            <ac:picMk id="11" creationId="{98D51AE8-8431-21DA-E3AB-788CAE3AB0B6}"/>
          </ac:picMkLst>
        </pc:picChg>
      </pc:sldChg>
      <pc:sldChg chg="add ord">
        <pc:chgData name="Nishikant Bhaskar Surwade" userId="495076cc-52fc-426c-b589-27671fc457ea" providerId="ADAL" clId="{94B0FC64-84D3-4A9C-B5AE-2124FA83E5FD}" dt="2022-08-12T11:42:19.884" v="1511"/>
        <pc:sldMkLst>
          <pc:docMk/>
          <pc:sldMk cId="4193167993" sldId="2147374707"/>
        </pc:sldMkLst>
      </pc:sldChg>
      <pc:sldChg chg="modSp add mod ord modShow">
        <pc:chgData name="Nishikant Bhaskar Surwade" userId="495076cc-52fc-426c-b589-27671fc457ea" providerId="ADAL" clId="{94B0FC64-84D3-4A9C-B5AE-2124FA83E5FD}" dt="2022-08-12T12:11:39.763" v="2150" actId="729"/>
        <pc:sldMkLst>
          <pc:docMk/>
          <pc:sldMk cId="1943513288" sldId="2147374708"/>
        </pc:sldMkLst>
        <pc:spChg chg="mod">
          <ac:chgData name="Nishikant Bhaskar Surwade" userId="495076cc-52fc-426c-b589-27671fc457ea" providerId="ADAL" clId="{94B0FC64-84D3-4A9C-B5AE-2124FA83E5FD}" dt="2022-08-12T12:06:10.850" v="2115" actId="6549"/>
          <ac:spMkLst>
            <pc:docMk/>
            <pc:sldMk cId="1943513288" sldId="2147374708"/>
            <ac:spMk id="8" creationId="{1C03E34C-0ECD-F8A2-B677-169A4C22204A}"/>
          </ac:spMkLst>
        </pc:spChg>
      </pc:sldChg>
      <pc:sldChg chg="add mod ord modShow">
        <pc:chgData name="Nishikant Bhaskar Surwade" userId="495076cc-52fc-426c-b589-27671fc457ea" providerId="ADAL" clId="{94B0FC64-84D3-4A9C-B5AE-2124FA83E5FD}" dt="2022-08-12T12:11:09.178" v="2141" actId="729"/>
        <pc:sldMkLst>
          <pc:docMk/>
          <pc:sldMk cId="1014150107" sldId="2147374709"/>
        </pc:sldMkLst>
      </pc:sldChg>
      <pc:sldChg chg="modSp add mod ord">
        <pc:chgData name="Nishikant Bhaskar Surwade" userId="495076cc-52fc-426c-b589-27671fc457ea" providerId="ADAL" clId="{94B0FC64-84D3-4A9C-B5AE-2124FA83E5FD}" dt="2022-08-12T12:08:44.847" v="2119"/>
        <pc:sldMkLst>
          <pc:docMk/>
          <pc:sldMk cId="3298197649" sldId="2147374710"/>
        </pc:sldMkLst>
        <pc:spChg chg="mod">
          <ac:chgData name="Nishikant Bhaskar Surwade" userId="495076cc-52fc-426c-b589-27671fc457ea" providerId="ADAL" clId="{94B0FC64-84D3-4A9C-B5AE-2124FA83E5FD}" dt="2022-08-12T12:08:44.847" v="2119"/>
          <ac:spMkLst>
            <pc:docMk/>
            <pc:sldMk cId="3298197649" sldId="2147374710"/>
            <ac:spMk id="2" creationId="{FB4EE193-90E9-1887-F2FA-9E5A696550A5}"/>
          </ac:spMkLst>
        </pc:spChg>
      </pc:sldChg>
      <pc:sldChg chg="modSp add mod ord">
        <pc:chgData name="Nishikant Bhaskar Surwade" userId="495076cc-52fc-426c-b589-27671fc457ea" providerId="ADAL" clId="{94B0FC64-84D3-4A9C-B5AE-2124FA83E5FD}" dt="2022-08-12T12:09:03.188" v="2121"/>
        <pc:sldMkLst>
          <pc:docMk/>
          <pc:sldMk cId="1896352452" sldId="2147374711"/>
        </pc:sldMkLst>
        <pc:spChg chg="mod">
          <ac:chgData name="Nishikant Bhaskar Surwade" userId="495076cc-52fc-426c-b589-27671fc457ea" providerId="ADAL" clId="{94B0FC64-84D3-4A9C-B5AE-2124FA83E5FD}" dt="2022-08-12T12:09:03.188" v="2121"/>
          <ac:spMkLst>
            <pc:docMk/>
            <pc:sldMk cId="1896352452" sldId="2147374711"/>
            <ac:spMk id="2" creationId="{97B41E84-E950-65C8-9CDC-338340B959EA}"/>
          </ac:spMkLst>
        </pc:spChg>
      </pc:sldChg>
      <pc:sldChg chg="add mod ord modShow">
        <pc:chgData name="Nishikant Bhaskar Surwade" userId="495076cc-52fc-426c-b589-27671fc457ea" providerId="ADAL" clId="{94B0FC64-84D3-4A9C-B5AE-2124FA83E5FD}" dt="2022-08-12T12:13:43.978" v="2158" actId="729"/>
        <pc:sldMkLst>
          <pc:docMk/>
          <pc:sldMk cId="2312784279" sldId="2147374712"/>
        </pc:sldMkLst>
      </pc:sldChg>
      <pc:sldChg chg="modSp add mod ord">
        <pc:chgData name="Nishikant Bhaskar Surwade" userId="495076cc-52fc-426c-b589-27671fc457ea" providerId="ADAL" clId="{94B0FC64-84D3-4A9C-B5AE-2124FA83E5FD}" dt="2022-08-12T12:14:12.878" v="2163"/>
        <pc:sldMkLst>
          <pc:docMk/>
          <pc:sldMk cId="2231258373" sldId="2147374713"/>
        </pc:sldMkLst>
        <pc:spChg chg="mod">
          <ac:chgData name="Nishikant Bhaskar Surwade" userId="495076cc-52fc-426c-b589-27671fc457ea" providerId="ADAL" clId="{94B0FC64-84D3-4A9C-B5AE-2124FA83E5FD}" dt="2022-08-12T12:14:12.878" v="2163"/>
          <ac:spMkLst>
            <pc:docMk/>
            <pc:sldMk cId="2231258373" sldId="2147374713"/>
            <ac:spMk id="2" creationId="{FB4EE193-90E9-1887-F2FA-9E5A696550A5}"/>
          </ac:spMkLst>
        </pc:spChg>
      </pc:sldChg>
      <pc:sldChg chg="modSp add mod ord">
        <pc:chgData name="Nishikant Bhaskar Surwade" userId="495076cc-52fc-426c-b589-27671fc457ea" providerId="ADAL" clId="{94B0FC64-84D3-4A9C-B5AE-2124FA83E5FD}" dt="2022-08-12T12:16:59.557" v="2181"/>
        <pc:sldMkLst>
          <pc:docMk/>
          <pc:sldMk cId="3345262931" sldId="2147374714"/>
        </pc:sldMkLst>
        <pc:spChg chg="mod">
          <ac:chgData name="Nishikant Bhaskar Surwade" userId="495076cc-52fc-426c-b589-27671fc457ea" providerId="ADAL" clId="{94B0FC64-84D3-4A9C-B5AE-2124FA83E5FD}" dt="2022-08-12T12:16:59.557" v="2181"/>
          <ac:spMkLst>
            <pc:docMk/>
            <pc:sldMk cId="3345262931" sldId="2147374714"/>
            <ac:spMk id="2" creationId="{97B41E84-E950-65C8-9CDC-338340B959EA}"/>
          </ac:spMkLst>
        </pc:spChg>
      </pc:sldChg>
      <pc:sldChg chg="delSp modSp add mod ord">
        <pc:chgData name="Nishikant Bhaskar Surwade" userId="495076cc-52fc-426c-b589-27671fc457ea" providerId="ADAL" clId="{94B0FC64-84D3-4A9C-B5AE-2124FA83E5FD}" dt="2022-08-12T12:23:23.333" v="2209" actId="20577"/>
        <pc:sldMkLst>
          <pc:docMk/>
          <pc:sldMk cId="2249997293" sldId="2147374715"/>
        </pc:sldMkLst>
        <pc:spChg chg="mod">
          <ac:chgData name="Nishikant Bhaskar Surwade" userId="495076cc-52fc-426c-b589-27671fc457ea" providerId="ADAL" clId="{94B0FC64-84D3-4A9C-B5AE-2124FA83E5FD}" dt="2022-08-12T12:23:23.333" v="2209" actId="20577"/>
          <ac:spMkLst>
            <pc:docMk/>
            <pc:sldMk cId="2249997293" sldId="2147374715"/>
            <ac:spMk id="2" creationId="{FCB7E9DB-49A3-60A1-5054-BCE0CFDE629C}"/>
          </ac:spMkLst>
        </pc:spChg>
        <pc:picChg chg="mod">
          <ac:chgData name="Nishikant Bhaskar Surwade" userId="495076cc-52fc-426c-b589-27671fc457ea" providerId="ADAL" clId="{94B0FC64-84D3-4A9C-B5AE-2124FA83E5FD}" dt="2022-08-12T11:41:41.509" v="1509" actId="1076"/>
          <ac:picMkLst>
            <pc:docMk/>
            <pc:sldMk cId="2249997293" sldId="2147374715"/>
            <ac:picMk id="5" creationId="{4C101B0F-0378-904D-1847-DE7E26FBB726}"/>
          </ac:picMkLst>
        </pc:picChg>
        <pc:picChg chg="del">
          <ac:chgData name="Nishikant Bhaskar Surwade" userId="495076cc-52fc-426c-b589-27671fc457ea" providerId="ADAL" clId="{94B0FC64-84D3-4A9C-B5AE-2124FA83E5FD}" dt="2022-08-12T11:41:38.032" v="1508" actId="478"/>
          <ac:picMkLst>
            <pc:docMk/>
            <pc:sldMk cId="2249997293" sldId="2147374715"/>
            <ac:picMk id="9" creationId="{7D469FD0-229C-157F-8210-0B404AB2EA7A}"/>
          </ac:picMkLst>
        </pc:picChg>
      </pc:sldChg>
      <pc:sldChg chg="add ord">
        <pc:chgData name="Nishikant Bhaskar Surwade" userId="495076cc-52fc-426c-b589-27671fc457ea" providerId="ADAL" clId="{94B0FC64-84D3-4A9C-B5AE-2124FA83E5FD}" dt="2022-08-12T11:42:19.884" v="1511"/>
        <pc:sldMkLst>
          <pc:docMk/>
          <pc:sldMk cId="1398262680" sldId="2147374716"/>
        </pc:sldMkLst>
      </pc:sldChg>
      <pc:sldChg chg="add mod ord modShow">
        <pc:chgData name="Nishikant Bhaskar Surwade" userId="495076cc-52fc-426c-b589-27671fc457ea" providerId="ADAL" clId="{94B0FC64-84D3-4A9C-B5AE-2124FA83E5FD}" dt="2022-08-12T11:42:19.884" v="1511"/>
        <pc:sldMkLst>
          <pc:docMk/>
          <pc:sldMk cId="726713252" sldId="2147374717"/>
        </pc:sldMkLst>
      </pc:sldChg>
      <pc:sldChg chg="add mod modShow">
        <pc:chgData name="Nishikant Bhaskar Surwade" userId="495076cc-52fc-426c-b589-27671fc457ea" providerId="ADAL" clId="{94B0FC64-84D3-4A9C-B5AE-2124FA83E5FD}" dt="2022-08-12T11:43:45.369" v="1513" actId="729"/>
        <pc:sldMkLst>
          <pc:docMk/>
          <pc:sldMk cId="3822620901" sldId="2147374718"/>
        </pc:sldMkLst>
      </pc:sldChg>
      <pc:sldChg chg="addSp delSp modSp new mod ord modAnim">
        <pc:chgData name="Nishikant Bhaskar Surwade" userId="495076cc-52fc-426c-b589-27671fc457ea" providerId="ADAL" clId="{94B0FC64-84D3-4A9C-B5AE-2124FA83E5FD}" dt="2022-08-12T12:00:58.587" v="2097"/>
        <pc:sldMkLst>
          <pc:docMk/>
          <pc:sldMk cId="3673901634" sldId="2147374719"/>
        </pc:sldMkLst>
        <pc:spChg chg="del">
          <ac:chgData name="Nishikant Bhaskar Surwade" userId="495076cc-52fc-426c-b589-27671fc457ea" providerId="ADAL" clId="{94B0FC64-84D3-4A9C-B5AE-2124FA83E5FD}" dt="2022-08-12T12:00:37.956" v="2093" actId="478"/>
          <ac:spMkLst>
            <pc:docMk/>
            <pc:sldMk cId="3673901634" sldId="2147374719"/>
            <ac:spMk id="2" creationId="{F8CC5E81-C5DD-6D37-9326-27F794400D5C}"/>
          </ac:spMkLst>
        </pc:spChg>
        <pc:spChg chg="add mod">
          <ac:chgData name="Nishikant Bhaskar Surwade" userId="495076cc-52fc-426c-b589-27671fc457ea" providerId="ADAL" clId="{94B0FC64-84D3-4A9C-B5AE-2124FA83E5FD}" dt="2022-08-12T12:00:48.333" v="2095" actId="1076"/>
          <ac:spMkLst>
            <pc:docMk/>
            <pc:sldMk cId="3673901634" sldId="2147374719"/>
            <ac:spMk id="5" creationId="{4FCF8F87-3DD5-BE0E-1CC5-2B9F84A5902B}"/>
          </ac:spMkLst>
        </pc:spChg>
        <pc:picChg chg="add mod">
          <ac:chgData name="Nishikant Bhaskar Surwade" userId="495076cc-52fc-426c-b589-27671fc457ea" providerId="ADAL" clId="{94B0FC64-84D3-4A9C-B5AE-2124FA83E5FD}" dt="2022-08-12T12:00:02.377" v="2067" actId="1076"/>
          <ac:picMkLst>
            <pc:docMk/>
            <pc:sldMk cId="3673901634" sldId="2147374719"/>
            <ac:picMk id="4" creationId="{C38150CB-2F27-51AC-BE12-9E7D63220883}"/>
          </ac:picMkLst>
        </pc:picChg>
      </pc:sldChg>
      <pc:sldChg chg="addSp delSp modSp new mod ord">
        <pc:chgData name="Nishikant Bhaskar Surwade" userId="495076cc-52fc-426c-b589-27671fc457ea" providerId="ADAL" clId="{94B0FC64-84D3-4A9C-B5AE-2124FA83E5FD}" dt="2022-08-12T12:11:27.739" v="2148" actId="1076"/>
        <pc:sldMkLst>
          <pc:docMk/>
          <pc:sldMk cId="517772960" sldId="2147374720"/>
        </pc:sldMkLst>
        <pc:spChg chg="del">
          <ac:chgData name="Nishikant Bhaskar Surwade" userId="495076cc-52fc-426c-b589-27671fc457ea" providerId="ADAL" clId="{94B0FC64-84D3-4A9C-B5AE-2124FA83E5FD}" dt="2022-08-12T12:11:23.921" v="2147" actId="478"/>
          <ac:spMkLst>
            <pc:docMk/>
            <pc:sldMk cId="517772960" sldId="2147374720"/>
            <ac:spMk id="2" creationId="{E0E6E0A1-062A-F271-7F19-AED31258341A}"/>
          </ac:spMkLst>
        </pc:spChg>
        <pc:spChg chg="add mod">
          <ac:chgData name="Nishikant Bhaskar Surwade" userId="495076cc-52fc-426c-b589-27671fc457ea" providerId="ADAL" clId="{94B0FC64-84D3-4A9C-B5AE-2124FA83E5FD}" dt="2022-08-12T12:11:27.739" v="2148" actId="1076"/>
          <ac:spMkLst>
            <pc:docMk/>
            <pc:sldMk cId="517772960" sldId="2147374720"/>
            <ac:spMk id="12" creationId="{193422FC-95E3-05E9-C3BF-F57FDEF21334}"/>
          </ac:spMkLst>
        </pc:spChg>
        <pc:picChg chg="add mod">
          <ac:chgData name="Nishikant Bhaskar Surwade" userId="495076cc-52fc-426c-b589-27671fc457ea" providerId="ADAL" clId="{94B0FC64-84D3-4A9C-B5AE-2124FA83E5FD}" dt="2022-08-12T12:10:39.714" v="2131" actId="1076"/>
          <ac:picMkLst>
            <pc:docMk/>
            <pc:sldMk cId="517772960" sldId="2147374720"/>
            <ac:picMk id="3" creationId="{8721B8F4-FD3F-DA28-0327-96E1953DB9F5}"/>
          </ac:picMkLst>
        </pc:picChg>
        <pc:picChg chg="add mod">
          <ac:chgData name="Nishikant Bhaskar Surwade" userId="495076cc-52fc-426c-b589-27671fc457ea" providerId="ADAL" clId="{94B0FC64-84D3-4A9C-B5AE-2124FA83E5FD}" dt="2022-08-12T12:10:47.845" v="2134" actId="1076"/>
          <ac:picMkLst>
            <pc:docMk/>
            <pc:sldMk cId="517772960" sldId="2147374720"/>
            <ac:picMk id="4" creationId="{F1D5CC75-C66D-5DCA-5B1F-48786EFF1DB8}"/>
          </ac:picMkLst>
        </pc:picChg>
        <pc:picChg chg="add mod">
          <ac:chgData name="Nishikant Bhaskar Surwade" userId="495076cc-52fc-426c-b589-27671fc457ea" providerId="ADAL" clId="{94B0FC64-84D3-4A9C-B5AE-2124FA83E5FD}" dt="2022-08-12T12:10:42.611" v="2132" actId="1076"/>
          <ac:picMkLst>
            <pc:docMk/>
            <pc:sldMk cId="517772960" sldId="2147374720"/>
            <ac:picMk id="5" creationId="{2F35B96F-F2BF-B794-4A75-59474A4CAD7E}"/>
          </ac:picMkLst>
        </pc:picChg>
        <pc:picChg chg="add mod">
          <ac:chgData name="Nishikant Bhaskar Surwade" userId="495076cc-52fc-426c-b589-27671fc457ea" providerId="ADAL" clId="{94B0FC64-84D3-4A9C-B5AE-2124FA83E5FD}" dt="2022-08-12T12:10:53.942" v="2137" actId="1076"/>
          <ac:picMkLst>
            <pc:docMk/>
            <pc:sldMk cId="517772960" sldId="2147374720"/>
            <ac:picMk id="6" creationId="{E527A7C2-9A86-0163-4477-3655F437B4D7}"/>
          </ac:picMkLst>
        </pc:picChg>
        <pc:picChg chg="add mod">
          <ac:chgData name="Nishikant Bhaskar Surwade" userId="495076cc-52fc-426c-b589-27671fc457ea" providerId="ADAL" clId="{94B0FC64-84D3-4A9C-B5AE-2124FA83E5FD}" dt="2022-08-12T12:10:52.311" v="2136" actId="1076"/>
          <ac:picMkLst>
            <pc:docMk/>
            <pc:sldMk cId="517772960" sldId="2147374720"/>
            <ac:picMk id="7" creationId="{BB366D62-30ED-68D5-4E9B-83109F1F5FAF}"/>
          </ac:picMkLst>
        </pc:picChg>
        <pc:picChg chg="add mod">
          <ac:chgData name="Nishikant Bhaskar Surwade" userId="495076cc-52fc-426c-b589-27671fc457ea" providerId="ADAL" clId="{94B0FC64-84D3-4A9C-B5AE-2124FA83E5FD}" dt="2022-08-12T12:10:58.361" v="2139" actId="1076"/>
          <ac:picMkLst>
            <pc:docMk/>
            <pc:sldMk cId="517772960" sldId="2147374720"/>
            <ac:picMk id="8" creationId="{A18199FA-E4B5-6865-C777-34A8BA9438E5}"/>
          </ac:picMkLst>
        </pc:picChg>
        <pc:picChg chg="add mod">
          <ac:chgData name="Nishikant Bhaskar Surwade" userId="495076cc-52fc-426c-b589-27671fc457ea" providerId="ADAL" clId="{94B0FC64-84D3-4A9C-B5AE-2124FA83E5FD}" dt="2022-08-12T12:10:50.863" v="2135" actId="1076"/>
          <ac:picMkLst>
            <pc:docMk/>
            <pc:sldMk cId="517772960" sldId="2147374720"/>
            <ac:picMk id="9" creationId="{19EF4E43-1E1B-A976-2F22-BDAD5EDED7A2}"/>
          </ac:picMkLst>
        </pc:picChg>
        <pc:picChg chg="add del mod">
          <ac:chgData name="Nishikant Bhaskar Surwade" userId="495076cc-52fc-426c-b589-27671fc457ea" providerId="ADAL" clId="{94B0FC64-84D3-4A9C-B5AE-2124FA83E5FD}" dt="2022-08-12T12:10:32.862" v="2128" actId="478"/>
          <ac:picMkLst>
            <pc:docMk/>
            <pc:sldMk cId="517772960" sldId="2147374720"/>
            <ac:picMk id="10" creationId="{F1D7DBEE-6CB5-C245-F404-35319CA0772B}"/>
          </ac:picMkLst>
        </pc:picChg>
        <pc:picChg chg="add mod">
          <ac:chgData name="Nishikant Bhaskar Surwade" userId="495076cc-52fc-426c-b589-27671fc457ea" providerId="ADAL" clId="{94B0FC64-84D3-4A9C-B5AE-2124FA83E5FD}" dt="2022-08-12T12:10:55.929" v="2138" actId="1076"/>
          <ac:picMkLst>
            <pc:docMk/>
            <pc:sldMk cId="517772960" sldId="2147374720"/>
            <ac:picMk id="11" creationId="{7304A8B7-87AC-1F80-66A7-06E8D1473DA4}"/>
          </ac:picMkLst>
        </pc:picChg>
      </pc:sldChg>
      <pc:sldChg chg="delSp modSp add mod">
        <pc:chgData name="Nishikant Bhaskar Surwade" userId="495076cc-52fc-426c-b589-27671fc457ea" providerId="ADAL" clId="{94B0FC64-84D3-4A9C-B5AE-2124FA83E5FD}" dt="2022-08-12T12:12:18.153" v="2156" actId="1076"/>
        <pc:sldMkLst>
          <pc:docMk/>
          <pc:sldMk cId="2837493188" sldId="2147374721"/>
        </pc:sldMkLst>
        <pc:spChg chg="del mod">
          <ac:chgData name="Nishikant Bhaskar Surwade" userId="495076cc-52fc-426c-b589-27671fc457ea" providerId="ADAL" clId="{94B0FC64-84D3-4A9C-B5AE-2124FA83E5FD}" dt="2022-08-12T12:12:03.875" v="2155" actId="478"/>
          <ac:spMkLst>
            <pc:docMk/>
            <pc:sldMk cId="2837493188" sldId="2147374721"/>
            <ac:spMk id="4" creationId="{45B630D3-6DA9-DE3E-3E70-BA9BAF060F5E}"/>
          </ac:spMkLst>
        </pc:spChg>
        <pc:spChg chg="mod">
          <ac:chgData name="Nishikant Bhaskar Surwade" userId="495076cc-52fc-426c-b589-27671fc457ea" providerId="ADAL" clId="{94B0FC64-84D3-4A9C-B5AE-2124FA83E5FD}" dt="2022-08-12T12:12:18.153" v="2156" actId="1076"/>
          <ac:spMkLst>
            <pc:docMk/>
            <pc:sldMk cId="2837493188" sldId="2147374721"/>
            <ac:spMk id="6" creationId="{9D6DF10E-5D69-D1EA-4D61-FF1ECE6931E0}"/>
          </ac:spMkLst>
        </pc:spChg>
        <pc:picChg chg="del">
          <ac:chgData name="Nishikant Bhaskar Surwade" userId="495076cc-52fc-426c-b589-27671fc457ea" providerId="ADAL" clId="{94B0FC64-84D3-4A9C-B5AE-2124FA83E5FD}" dt="2022-08-12T12:11:56.288" v="2152" actId="478"/>
          <ac:picMkLst>
            <pc:docMk/>
            <pc:sldMk cId="2837493188" sldId="2147374721"/>
            <ac:picMk id="10242" creationId="{AE1222AF-C0D8-BE08-14AF-E5BCEEC6B857}"/>
          </ac:picMkLst>
        </pc:picChg>
        <pc:picChg chg="del">
          <ac:chgData name="Nishikant Bhaskar Surwade" userId="495076cc-52fc-426c-b589-27671fc457ea" providerId="ADAL" clId="{94B0FC64-84D3-4A9C-B5AE-2124FA83E5FD}" dt="2022-08-12T12:11:56.288" v="2152" actId="478"/>
          <ac:picMkLst>
            <pc:docMk/>
            <pc:sldMk cId="2837493188" sldId="2147374721"/>
            <ac:picMk id="10244" creationId="{D4448386-420B-89B6-6E2F-8CD7E9DE7997}"/>
          </ac:picMkLst>
        </pc:picChg>
        <pc:picChg chg="del">
          <ac:chgData name="Nishikant Bhaskar Surwade" userId="495076cc-52fc-426c-b589-27671fc457ea" providerId="ADAL" clId="{94B0FC64-84D3-4A9C-B5AE-2124FA83E5FD}" dt="2022-08-12T12:11:56.288" v="2152" actId="478"/>
          <ac:picMkLst>
            <pc:docMk/>
            <pc:sldMk cId="2837493188" sldId="2147374721"/>
            <ac:picMk id="10248" creationId="{117CCBFB-7C01-070E-7E36-A079916513BD}"/>
          </ac:picMkLst>
        </pc:picChg>
        <pc:picChg chg="del">
          <ac:chgData name="Nishikant Bhaskar Surwade" userId="495076cc-52fc-426c-b589-27671fc457ea" providerId="ADAL" clId="{94B0FC64-84D3-4A9C-B5AE-2124FA83E5FD}" dt="2022-08-12T12:11:56.288" v="2152" actId="478"/>
          <ac:picMkLst>
            <pc:docMk/>
            <pc:sldMk cId="2837493188" sldId="2147374721"/>
            <ac:picMk id="10250" creationId="{F29B385C-6A42-C88A-6ED8-9CEBBFD2F8F4}"/>
          </ac:picMkLst>
        </pc:picChg>
        <pc:picChg chg="del">
          <ac:chgData name="Nishikant Bhaskar Surwade" userId="495076cc-52fc-426c-b589-27671fc457ea" providerId="ADAL" clId="{94B0FC64-84D3-4A9C-B5AE-2124FA83E5FD}" dt="2022-08-12T12:11:56.288" v="2152" actId="478"/>
          <ac:picMkLst>
            <pc:docMk/>
            <pc:sldMk cId="2837493188" sldId="2147374721"/>
            <ac:picMk id="10254" creationId="{900EEF8D-5B1B-545E-8B0D-B5DF83D4C353}"/>
          </ac:picMkLst>
        </pc:picChg>
        <pc:picChg chg="del">
          <ac:chgData name="Nishikant Bhaskar Surwade" userId="495076cc-52fc-426c-b589-27671fc457ea" providerId="ADAL" clId="{94B0FC64-84D3-4A9C-B5AE-2124FA83E5FD}" dt="2022-08-12T12:11:56.288" v="2152" actId="478"/>
          <ac:picMkLst>
            <pc:docMk/>
            <pc:sldMk cId="2837493188" sldId="2147374721"/>
            <ac:picMk id="10256" creationId="{0AB04EF5-FF4F-291E-A733-0749FE286959}"/>
          </ac:picMkLst>
        </pc:picChg>
      </pc:sldChg>
      <pc:sldChg chg="delSp add">
        <pc:chgData name="Nishikant Bhaskar Surwade" userId="495076cc-52fc-426c-b589-27671fc457ea" providerId="ADAL" clId="{94B0FC64-84D3-4A9C-B5AE-2124FA83E5FD}" dt="2022-08-12T12:11:44.208" v="2151" actId="478"/>
        <pc:sldMkLst>
          <pc:docMk/>
          <pc:sldMk cId="1772557993" sldId="2147374722"/>
        </pc:sldMkLst>
        <pc:picChg chg="del">
          <ac:chgData name="Nishikant Bhaskar Surwade" userId="495076cc-52fc-426c-b589-27671fc457ea" providerId="ADAL" clId="{94B0FC64-84D3-4A9C-B5AE-2124FA83E5FD}" dt="2022-08-12T12:11:44.208" v="2151" actId="478"/>
          <ac:picMkLst>
            <pc:docMk/>
            <pc:sldMk cId="1772557993" sldId="2147374722"/>
            <ac:picMk id="9220" creationId="{8A06D1DB-4741-7272-19FF-A0AEDB38D884}"/>
          </ac:picMkLst>
        </pc:picChg>
        <pc:picChg chg="del">
          <ac:chgData name="Nishikant Bhaskar Surwade" userId="495076cc-52fc-426c-b589-27671fc457ea" providerId="ADAL" clId="{94B0FC64-84D3-4A9C-B5AE-2124FA83E5FD}" dt="2022-08-12T12:11:44.208" v="2151" actId="478"/>
          <ac:picMkLst>
            <pc:docMk/>
            <pc:sldMk cId="1772557993" sldId="2147374722"/>
            <ac:picMk id="9222" creationId="{F759BA07-A5F9-DD99-6A97-6A1248FF91C9}"/>
          </ac:picMkLst>
        </pc:picChg>
        <pc:picChg chg="del">
          <ac:chgData name="Nishikant Bhaskar Surwade" userId="495076cc-52fc-426c-b589-27671fc457ea" providerId="ADAL" clId="{94B0FC64-84D3-4A9C-B5AE-2124FA83E5FD}" dt="2022-08-12T12:11:44.208" v="2151" actId="478"/>
          <ac:picMkLst>
            <pc:docMk/>
            <pc:sldMk cId="1772557993" sldId="2147374722"/>
            <ac:picMk id="9224" creationId="{E32151BB-872F-2588-3D83-055CE6592ABD}"/>
          </ac:picMkLst>
        </pc:picChg>
      </pc:sldChg>
      <pc:sldChg chg="delSp modSp add mod">
        <pc:chgData name="Nishikant Bhaskar Surwade" userId="495076cc-52fc-426c-b589-27671fc457ea" providerId="ADAL" clId="{94B0FC64-84D3-4A9C-B5AE-2124FA83E5FD}" dt="2022-08-12T12:14:01.043" v="2161" actId="1076"/>
        <pc:sldMkLst>
          <pc:docMk/>
          <pc:sldMk cId="128673233" sldId="2147374723"/>
        </pc:sldMkLst>
        <pc:spChg chg="del">
          <ac:chgData name="Nishikant Bhaskar Surwade" userId="495076cc-52fc-426c-b589-27671fc457ea" providerId="ADAL" clId="{94B0FC64-84D3-4A9C-B5AE-2124FA83E5FD}" dt="2022-08-12T12:13:48.726" v="2159" actId="478"/>
          <ac:spMkLst>
            <pc:docMk/>
            <pc:sldMk cId="128673233" sldId="2147374723"/>
            <ac:spMk id="4" creationId="{2E5BEEFE-F5BE-56ED-EE14-E7E860EBC2DB}"/>
          </ac:spMkLst>
        </pc:spChg>
        <pc:spChg chg="mod">
          <ac:chgData name="Nishikant Bhaskar Surwade" userId="495076cc-52fc-426c-b589-27671fc457ea" providerId="ADAL" clId="{94B0FC64-84D3-4A9C-B5AE-2124FA83E5FD}" dt="2022-08-12T12:14:01.043" v="2161" actId="1076"/>
          <ac:spMkLst>
            <pc:docMk/>
            <pc:sldMk cId="128673233" sldId="2147374723"/>
            <ac:spMk id="6" creationId="{D0C45E1D-C51B-6D1B-A49F-1DD51445702A}"/>
          </ac:spMkLst>
        </pc:spChg>
        <pc:picChg chg="del">
          <ac:chgData name="Nishikant Bhaskar Surwade" userId="495076cc-52fc-426c-b589-27671fc457ea" providerId="ADAL" clId="{94B0FC64-84D3-4A9C-B5AE-2124FA83E5FD}" dt="2022-08-12T12:13:54.893" v="2160" actId="478"/>
          <ac:picMkLst>
            <pc:docMk/>
            <pc:sldMk cId="128673233" sldId="2147374723"/>
            <ac:picMk id="7" creationId="{49E4EC99-3456-CD09-BB1D-C04DBC57FC57}"/>
          </ac:picMkLst>
        </pc:picChg>
        <pc:picChg chg="del">
          <ac:chgData name="Nishikant Bhaskar Surwade" userId="495076cc-52fc-426c-b589-27671fc457ea" providerId="ADAL" clId="{94B0FC64-84D3-4A9C-B5AE-2124FA83E5FD}" dt="2022-08-12T12:13:54.893" v="2160" actId="478"/>
          <ac:picMkLst>
            <pc:docMk/>
            <pc:sldMk cId="128673233" sldId="2147374723"/>
            <ac:picMk id="8" creationId="{FCF74223-4B63-1421-0C02-11B2A080C7D1}"/>
          </ac:picMkLst>
        </pc:picChg>
        <pc:picChg chg="del">
          <ac:chgData name="Nishikant Bhaskar Surwade" userId="495076cc-52fc-426c-b589-27671fc457ea" providerId="ADAL" clId="{94B0FC64-84D3-4A9C-B5AE-2124FA83E5FD}" dt="2022-08-12T12:13:54.893" v="2160" actId="478"/>
          <ac:picMkLst>
            <pc:docMk/>
            <pc:sldMk cId="128673233" sldId="2147374723"/>
            <ac:picMk id="9" creationId="{21C1A177-2841-F012-598A-BE774CE5B97A}"/>
          </ac:picMkLst>
        </pc:picChg>
        <pc:picChg chg="del">
          <ac:chgData name="Nishikant Bhaskar Surwade" userId="495076cc-52fc-426c-b589-27671fc457ea" providerId="ADAL" clId="{94B0FC64-84D3-4A9C-B5AE-2124FA83E5FD}" dt="2022-08-12T12:13:54.893" v="2160" actId="478"/>
          <ac:picMkLst>
            <pc:docMk/>
            <pc:sldMk cId="128673233" sldId="2147374723"/>
            <ac:picMk id="10" creationId="{B9BF4692-7CD9-8748-64BF-27C648CFA5BE}"/>
          </ac:picMkLst>
        </pc:picChg>
        <pc:picChg chg="del">
          <ac:chgData name="Nishikant Bhaskar Surwade" userId="495076cc-52fc-426c-b589-27671fc457ea" providerId="ADAL" clId="{94B0FC64-84D3-4A9C-B5AE-2124FA83E5FD}" dt="2022-08-12T12:13:54.893" v="2160" actId="478"/>
          <ac:picMkLst>
            <pc:docMk/>
            <pc:sldMk cId="128673233" sldId="2147374723"/>
            <ac:picMk id="11" creationId="{FDEBEC35-1712-119C-230E-D9B1E39D221D}"/>
          </ac:picMkLst>
        </pc:picChg>
        <pc:picChg chg="del">
          <ac:chgData name="Nishikant Bhaskar Surwade" userId="495076cc-52fc-426c-b589-27671fc457ea" providerId="ADAL" clId="{94B0FC64-84D3-4A9C-B5AE-2124FA83E5FD}" dt="2022-08-12T12:13:54.893" v="2160" actId="478"/>
          <ac:picMkLst>
            <pc:docMk/>
            <pc:sldMk cId="128673233" sldId="2147374723"/>
            <ac:picMk id="12" creationId="{3C7C742A-18B3-18BF-EDD1-21899A55016D}"/>
          </ac:picMkLst>
        </pc:picChg>
      </pc:sldChg>
      <pc:sldChg chg="addSp modSp new mod">
        <pc:chgData name="Nishikant Bhaskar Surwade" userId="495076cc-52fc-426c-b589-27671fc457ea" providerId="ADAL" clId="{94B0FC64-84D3-4A9C-B5AE-2124FA83E5FD}" dt="2022-08-12T12:15:28.556" v="2169" actId="1076"/>
        <pc:sldMkLst>
          <pc:docMk/>
          <pc:sldMk cId="1207089963" sldId="2147374724"/>
        </pc:sldMkLst>
        <pc:picChg chg="add mod">
          <ac:chgData name="Nishikant Bhaskar Surwade" userId="495076cc-52fc-426c-b589-27671fc457ea" providerId="ADAL" clId="{94B0FC64-84D3-4A9C-B5AE-2124FA83E5FD}" dt="2022-08-12T12:15:28.556" v="2169" actId="1076"/>
          <ac:picMkLst>
            <pc:docMk/>
            <pc:sldMk cId="1207089963" sldId="2147374724"/>
            <ac:picMk id="4" creationId="{56319F3E-244C-3D96-7AD5-F9DBA4F3DEA5}"/>
          </ac:picMkLst>
        </pc:picChg>
      </pc:sldChg>
      <pc:sldChg chg="addSp delSp modSp new mod modClrScheme chgLayout">
        <pc:chgData name="Nishikant Bhaskar Surwade" userId="495076cc-52fc-426c-b589-27671fc457ea" providerId="ADAL" clId="{94B0FC64-84D3-4A9C-B5AE-2124FA83E5FD}" dt="2022-08-12T12:16:38.907" v="2179"/>
        <pc:sldMkLst>
          <pc:docMk/>
          <pc:sldMk cId="2040775108" sldId="2147374725"/>
        </pc:sldMkLst>
        <pc:spChg chg="del mod ord">
          <ac:chgData name="Nishikant Bhaskar Surwade" userId="495076cc-52fc-426c-b589-27671fc457ea" providerId="ADAL" clId="{94B0FC64-84D3-4A9C-B5AE-2124FA83E5FD}" dt="2022-08-12T12:16:08.532" v="2171" actId="700"/>
          <ac:spMkLst>
            <pc:docMk/>
            <pc:sldMk cId="2040775108" sldId="2147374725"/>
            <ac:spMk id="2" creationId="{DAAF4357-02FD-3245-C46A-4B783B86C2B2}"/>
          </ac:spMkLst>
        </pc:spChg>
        <pc:spChg chg="add mod ord">
          <ac:chgData name="Nishikant Bhaskar Surwade" userId="495076cc-52fc-426c-b589-27671fc457ea" providerId="ADAL" clId="{94B0FC64-84D3-4A9C-B5AE-2124FA83E5FD}" dt="2022-08-12T12:16:08.532" v="2171" actId="700"/>
          <ac:spMkLst>
            <pc:docMk/>
            <pc:sldMk cId="2040775108" sldId="2147374725"/>
            <ac:spMk id="3" creationId="{9A1EC32A-B41A-53B2-C2E9-F5E80C79629E}"/>
          </ac:spMkLst>
        </pc:spChg>
        <pc:spChg chg="add mod ord">
          <ac:chgData name="Nishikant Bhaskar Surwade" userId="495076cc-52fc-426c-b589-27671fc457ea" providerId="ADAL" clId="{94B0FC64-84D3-4A9C-B5AE-2124FA83E5FD}" dt="2022-08-12T12:16:38.907" v="2179"/>
          <ac:spMkLst>
            <pc:docMk/>
            <pc:sldMk cId="2040775108" sldId="2147374725"/>
            <ac:spMk id="4" creationId="{B3B4F85D-89C9-65F1-0151-5C9D4E24B9EE}"/>
          </ac:spMkLst>
        </pc:spChg>
      </pc:sldChg>
      <pc:sldChg chg="add modAnim">
        <pc:chgData name="Nishikant Bhaskar Surwade" userId="495076cc-52fc-426c-b589-27671fc457ea" providerId="ADAL" clId="{94B0FC64-84D3-4A9C-B5AE-2124FA83E5FD}" dt="2022-08-12T12:24:13.156" v="2211"/>
        <pc:sldMkLst>
          <pc:docMk/>
          <pc:sldMk cId="1588319238" sldId="2147374726"/>
        </pc:sldMkLst>
      </pc:sldChg>
      <pc:sldChg chg="modSp new mod">
        <pc:chgData name="Nishikant Bhaskar Surwade" userId="495076cc-52fc-426c-b589-27671fc457ea" providerId="ADAL" clId="{94B0FC64-84D3-4A9C-B5AE-2124FA83E5FD}" dt="2022-08-12T12:46:40.033" v="2253" actId="20577"/>
        <pc:sldMkLst>
          <pc:docMk/>
          <pc:sldMk cId="1802998893" sldId="2147374727"/>
        </pc:sldMkLst>
        <pc:spChg chg="mod">
          <ac:chgData name="Nishikant Bhaskar Surwade" userId="495076cc-52fc-426c-b589-27671fc457ea" providerId="ADAL" clId="{94B0FC64-84D3-4A9C-B5AE-2124FA83E5FD}" dt="2022-08-12T12:46:40.033" v="2253" actId="20577"/>
          <ac:spMkLst>
            <pc:docMk/>
            <pc:sldMk cId="1802998893" sldId="2147374727"/>
            <ac:spMk id="2" creationId="{261C6614-37A8-B20E-79B7-AFF452E82280}"/>
          </ac:spMkLst>
        </pc:spChg>
      </pc:sldChg>
    </pc:docChg>
  </pc:docChgLst>
  <pc:docChgLst>
    <pc:chgData name="Nishikant Bhaskar Surwade" userId="495076cc-52fc-426c-b589-27671fc457ea" providerId="ADAL" clId="{08457779-2387-4BEF-AA4D-204C9C11DD8F}"/>
    <pc:docChg chg="addSld modSld">
      <pc:chgData name="Nishikant Bhaskar Surwade" userId="495076cc-52fc-426c-b589-27671fc457ea" providerId="ADAL" clId="{08457779-2387-4BEF-AA4D-204C9C11DD8F}" dt="2022-08-17T13:06:11.498" v="0"/>
      <pc:docMkLst>
        <pc:docMk/>
      </pc:docMkLst>
      <pc:sldChg chg="add">
        <pc:chgData name="Nishikant Bhaskar Surwade" userId="495076cc-52fc-426c-b589-27671fc457ea" providerId="ADAL" clId="{08457779-2387-4BEF-AA4D-204C9C11DD8F}" dt="2022-08-17T13:06:11.498" v="0"/>
        <pc:sldMkLst>
          <pc:docMk/>
          <pc:sldMk cId="1611053448" sldId="214737473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93E660-6596-4451-8019-032FC2A6B4AA}" type="doc">
      <dgm:prSet loTypeId="urn:microsoft.com/office/officeart/2005/8/layout/process5" loCatId="process" qsTypeId="urn:microsoft.com/office/officeart/2005/8/quickstyle/simple4" qsCatId="simple" csTypeId="urn:microsoft.com/office/officeart/2005/8/colors/accent0_3" csCatId="mainScheme" phldr="1"/>
      <dgm:spPr/>
    </dgm:pt>
    <dgm:pt modelId="{C7213AEE-A3B9-48EE-970F-7FB6B71861E6}">
      <dgm:prSet phldrT="[Tex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Start</a:t>
          </a:r>
          <a:endParaRPr lang="en-US" b="0" i="0" dirty="0">
            <a:solidFill>
              <a:schemeClr val="accent2">
                <a:lumMod val="50000"/>
              </a:schemeClr>
            </a:solidFill>
            <a:latin typeface="Avenir Next" panose="020B0503020202020204" pitchFamily="34" charset="0"/>
          </a:endParaRPr>
        </a:p>
      </dgm:t>
    </dgm:pt>
    <dgm:pt modelId="{6CD4C74D-DEFF-4339-A948-50D3F060D5ED}" type="parTrans" cxnId="{2E9ED541-E876-4C2F-9766-92C012B55B24}">
      <dgm:prSet/>
      <dgm:spPr/>
      <dgm:t>
        <a:bodyPr/>
        <a:lstStyle/>
        <a:p>
          <a:endParaRPr lang="en-US"/>
        </a:p>
      </dgm:t>
    </dgm:pt>
    <dgm:pt modelId="{BC1B332E-0E55-4D11-8567-5BD6C6F316B6}" type="sibTrans" cxnId="{2E9ED541-E876-4C2F-9766-92C012B55B24}">
      <dgm:prSet/>
      <dgm:spPr>
        <a:solidFill>
          <a:srgbClr val="178B54"/>
        </a:solidFill>
      </dgm:spPr>
      <dgm:t>
        <a:bodyPr/>
        <a:lstStyle/>
        <a:p>
          <a:endParaRPr lang="en-US"/>
        </a:p>
      </dgm:t>
    </dgm:pt>
    <dgm:pt modelId="{34A36A15-75C1-4CC5-8AD2-87BD21DA895C}">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Create new data variable using data pre-processing</a:t>
          </a:r>
        </a:p>
      </dgm:t>
    </dgm:pt>
    <dgm:pt modelId="{DF030A83-7215-4529-B6C7-5754D4295000}" type="parTrans" cxnId="{219955FB-DA37-4F35-A3F7-4BB551B1741C}">
      <dgm:prSet/>
      <dgm:spPr/>
      <dgm:t>
        <a:bodyPr/>
        <a:lstStyle/>
        <a:p>
          <a:endParaRPr lang="en-US"/>
        </a:p>
      </dgm:t>
    </dgm:pt>
    <dgm:pt modelId="{865A329A-DD71-4AB3-9F1F-9E71A33BF789}" type="sibTrans" cxnId="{219955FB-DA37-4F35-A3F7-4BB551B1741C}">
      <dgm:prSet/>
      <dgm:spPr>
        <a:solidFill>
          <a:srgbClr val="178B54"/>
        </a:solidFill>
      </dgm:spPr>
      <dgm:t>
        <a:bodyPr/>
        <a:lstStyle/>
        <a:p>
          <a:endParaRPr lang="en-US"/>
        </a:p>
      </dgm:t>
    </dgm:pt>
    <dgm:pt modelId="{0C368D89-32FA-41D6-BC88-7BE3778D4556}">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Identify if incident is related to</a:t>
          </a:r>
        </a:p>
      </dgm:t>
    </dgm:pt>
    <dgm:pt modelId="{1C6A5A23-A55B-48C2-A139-3AF1BF240588}" type="parTrans" cxnId="{3CBD3C4A-BB3E-4202-853E-DB6480EEE29E}">
      <dgm:prSet/>
      <dgm:spPr/>
      <dgm:t>
        <a:bodyPr/>
        <a:lstStyle/>
        <a:p>
          <a:endParaRPr lang="en-US"/>
        </a:p>
      </dgm:t>
    </dgm:pt>
    <dgm:pt modelId="{CAE61C8C-AE5C-4371-87A3-23A3A2D97EBB}" type="sibTrans" cxnId="{3CBD3C4A-BB3E-4202-853E-DB6480EEE29E}">
      <dgm:prSet/>
      <dgm:spPr>
        <a:solidFill>
          <a:srgbClr val="178B54"/>
        </a:solidFill>
      </dgm:spPr>
      <dgm:t>
        <a:bodyPr/>
        <a:lstStyle/>
        <a:p>
          <a:endParaRPr lang="en-US"/>
        </a:p>
      </dgm:t>
    </dgm:pt>
    <dgm:pt modelId="{F560C7F3-3D48-4C58-95AE-4C724F0BC65C}">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Change request or</a:t>
          </a:r>
        </a:p>
      </dgm:t>
    </dgm:pt>
    <dgm:pt modelId="{11CF84DB-67A8-4124-AFE6-579498EF4C75}" type="parTrans" cxnId="{BB963FD0-12F7-4E64-8055-8D1E9FB51768}">
      <dgm:prSet/>
      <dgm:spPr/>
      <dgm:t>
        <a:bodyPr/>
        <a:lstStyle/>
        <a:p>
          <a:endParaRPr lang="en-US"/>
        </a:p>
      </dgm:t>
    </dgm:pt>
    <dgm:pt modelId="{8DFCD987-053F-4DD7-94AE-9995F25F0A35}" type="sibTrans" cxnId="{BB963FD0-12F7-4E64-8055-8D1E9FB51768}">
      <dgm:prSet/>
      <dgm:spPr/>
      <dgm:t>
        <a:bodyPr/>
        <a:lstStyle/>
        <a:p>
          <a:endParaRPr lang="en-US"/>
        </a:p>
      </dgm:t>
    </dgm:pt>
    <dgm:pt modelId="{CFFCE88C-D71E-41DC-8C7F-FA4F2387BA17}">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Environment Change or</a:t>
          </a:r>
        </a:p>
      </dgm:t>
    </dgm:pt>
    <dgm:pt modelId="{44C2039E-C439-4A0A-BFF2-D266F46D7CDC}" type="parTrans" cxnId="{6CEA51D9-95C5-4534-AB9D-340D594DE737}">
      <dgm:prSet/>
      <dgm:spPr/>
      <dgm:t>
        <a:bodyPr/>
        <a:lstStyle/>
        <a:p>
          <a:endParaRPr lang="en-US"/>
        </a:p>
      </dgm:t>
    </dgm:pt>
    <dgm:pt modelId="{1E69B3E6-0CC5-42C2-AC12-4821FCA30E47}" type="sibTrans" cxnId="{6CEA51D9-95C5-4534-AB9D-340D594DE737}">
      <dgm:prSet/>
      <dgm:spPr/>
      <dgm:t>
        <a:bodyPr/>
        <a:lstStyle/>
        <a:p>
          <a:endParaRPr lang="en-US"/>
        </a:p>
      </dgm:t>
    </dgm:pt>
    <dgm:pt modelId="{B4289702-23CF-4C23-8F32-48C967EFC85C}">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Other</a:t>
          </a:r>
        </a:p>
      </dgm:t>
    </dgm:pt>
    <dgm:pt modelId="{8BFA29E0-74A0-4DAC-A82C-F2FCB441B228}" type="parTrans" cxnId="{389227F0-1361-49C6-B1ED-38460A0771E3}">
      <dgm:prSet/>
      <dgm:spPr/>
      <dgm:t>
        <a:bodyPr/>
        <a:lstStyle/>
        <a:p>
          <a:endParaRPr lang="en-US"/>
        </a:p>
      </dgm:t>
    </dgm:pt>
    <dgm:pt modelId="{97373AA3-B24E-4666-A580-61C448E01E97}" type="sibTrans" cxnId="{389227F0-1361-49C6-B1ED-38460A0771E3}">
      <dgm:prSet/>
      <dgm:spPr/>
      <dgm:t>
        <a:bodyPr/>
        <a:lstStyle/>
        <a:p>
          <a:endParaRPr lang="en-US"/>
        </a:p>
      </dgm:t>
    </dgm:pt>
    <dgm:pt modelId="{D5030F09-8F3C-468E-8A93-ED190BCF3012}">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Cluster the incidents to identify the pattern </a:t>
          </a:r>
        </a:p>
      </dgm:t>
    </dgm:pt>
    <dgm:pt modelId="{CD616710-0263-44A7-80EF-36E08FCCFDA6}" type="parTrans" cxnId="{7BD07293-0FBC-4CA9-B4A7-37AACEE156AD}">
      <dgm:prSet/>
      <dgm:spPr/>
      <dgm:t>
        <a:bodyPr/>
        <a:lstStyle/>
        <a:p>
          <a:endParaRPr lang="en-US"/>
        </a:p>
      </dgm:t>
    </dgm:pt>
    <dgm:pt modelId="{4B91405E-3A4A-4F67-8B99-707E83B20979}" type="sibTrans" cxnId="{7BD07293-0FBC-4CA9-B4A7-37AACEE156AD}">
      <dgm:prSet/>
      <dgm:spPr>
        <a:solidFill>
          <a:srgbClr val="178B54"/>
        </a:solidFill>
      </dgm:spPr>
      <dgm:t>
        <a:bodyPr/>
        <a:lstStyle/>
        <a:p>
          <a:endParaRPr lang="en-US"/>
        </a:p>
      </dgm:t>
    </dgm:pt>
    <dgm:pt modelId="{EAF0B4E6-0651-427E-8F84-F3700BDFFCB0}">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Incidents related to Change request</a:t>
          </a:r>
        </a:p>
      </dgm:t>
    </dgm:pt>
    <dgm:pt modelId="{0454BDAF-5A16-4D20-89EA-8DCCE7D46A3B}" type="parTrans" cxnId="{6BFE1A86-732B-4DF7-95E8-95DB1564B8E3}">
      <dgm:prSet/>
      <dgm:spPr/>
      <dgm:t>
        <a:bodyPr/>
        <a:lstStyle/>
        <a:p>
          <a:endParaRPr lang="en-US"/>
        </a:p>
      </dgm:t>
    </dgm:pt>
    <dgm:pt modelId="{67A33E36-0550-4335-A784-28E777E2522E}" type="sibTrans" cxnId="{6BFE1A86-732B-4DF7-95E8-95DB1564B8E3}">
      <dgm:prSet/>
      <dgm:spPr/>
      <dgm:t>
        <a:bodyPr/>
        <a:lstStyle/>
        <a:p>
          <a:endParaRPr lang="en-US"/>
        </a:p>
      </dgm:t>
    </dgm:pt>
    <dgm:pt modelId="{ABA1B470-D98A-4D4D-8328-75A2C6CE50FE}">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Incidents related to Environment  change</a:t>
          </a:r>
        </a:p>
      </dgm:t>
    </dgm:pt>
    <dgm:pt modelId="{9C3F3F13-DBD0-4457-B7FD-991B9570F00F}" type="parTrans" cxnId="{01DF7037-B050-4560-8EC1-27BD25133801}">
      <dgm:prSet/>
      <dgm:spPr/>
      <dgm:t>
        <a:bodyPr/>
        <a:lstStyle/>
        <a:p>
          <a:endParaRPr lang="en-US"/>
        </a:p>
      </dgm:t>
    </dgm:pt>
    <dgm:pt modelId="{960DA6EF-F70D-4609-AAD6-F0C153C95FFD}" type="sibTrans" cxnId="{01DF7037-B050-4560-8EC1-27BD25133801}">
      <dgm:prSet/>
      <dgm:spPr/>
      <dgm:t>
        <a:bodyPr/>
        <a:lstStyle/>
        <a:p>
          <a:endParaRPr lang="en-US"/>
        </a:p>
      </dgm:t>
    </dgm:pt>
    <dgm:pt modelId="{C480CA6D-A394-4076-AE6F-ACB920575E4C}">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Model training &amp; evaluation for predication of incidents categories </a:t>
          </a:r>
        </a:p>
      </dgm:t>
    </dgm:pt>
    <dgm:pt modelId="{C08C6F4E-B779-4795-8F87-0E6D2D5E7A1C}" type="parTrans" cxnId="{EA6CB221-C94D-45D7-89C9-BD1397CD915A}">
      <dgm:prSet/>
      <dgm:spPr/>
      <dgm:t>
        <a:bodyPr/>
        <a:lstStyle/>
        <a:p>
          <a:endParaRPr lang="en-US"/>
        </a:p>
      </dgm:t>
    </dgm:pt>
    <dgm:pt modelId="{29DD4401-5643-4890-AF76-CF9AAB47B536}" type="sibTrans" cxnId="{EA6CB221-C94D-45D7-89C9-BD1397CD915A}">
      <dgm:prSet/>
      <dgm:spPr>
        <a:solidFill>
          <a:srgbClr val="178B54"/>
        </a:solidFill>
      </dgm:spPr>
      <dgm:t>
        <a:bodyPr/>
        <a:lstStyle/>
        <a:p>
          <a:endParaRPr lang="en-US"/>
        </a:p>
      </dgm:t>
    </dgm:pt>
    <dgm:pt modelId="{94A24CA0-F979-460D-9D08-39C964640CF2}">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on Change Request</a:t>
          </a:r>
        </a:p>
      </dgm:t>
    </dgm:pt>
    <dgm:pt modelId="{B6DCD751-6CE3-496C-ACD4-C3F527D98630}" type="parTrans" cxnId="{D1A5EF4A-ACEE-4022-9CA1-3061C8A36B03}">
      <dgm:prSet/>
      <dgm:spPr/>
      <dgm:t>
        <a:bodyPr/>
        <a:lstStyle/>
        <a:p>
          <a:endParaRPr lang="en-US"/>
        </a:p>
      </dgm:t>
    </dgm:pt>
    <dgm:pt modelId="{F7EB3FC5-BAB6-42D3-B6C7-F761559AAD12}" type="sibTrans" cxnId="{D1A5EF4A-ACEE-4022-9CA1-3061C8A36B03}">
      <dgm:prSet/>
      <dgm:spPr/>
      <dgm:t>
        <a:bodyPr/>
        <a:lstStyle/>
        <a:p>
          <a:endParaRPr lang="en-US"/>
        </a:p>
      </dgm:t>
    </dgm:pt>
    <dgm:pt modelId="{3434F049-191A-4F3C-9F5A-D69C01BBF123}">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on Environment Change</a:t>
          </a:r>
        </a:p>
      </dgm:t>
    </dgm:pt>
    <dgm:pt modelId="{76F87BB5-EEB6-4609-8C47-99A099535E77}" type="parTrans" cxnId="{FDA5A4E1-CECB-4F9E-AF6F-F19BD5E26F29}">
      <dgm:prSet/>
      <dgm:spPr/>
      <dgm:t>
        <a:bodyPr/>
        <a:lstStyle/>
        <a:p>
          <a:endParaRPr lang="en-US"/>
        </a:p>
      </dgm:t>
    </dgm:pt>
    <dgm:pt modelId="{12B087E6-E1F0-4DAE-8A1B-777E7176720C}" type="sibTrans" cxnId="{FDA5A4E1-CECB-4F9E-AF6F-F19BD5E26F29}">
      <dgm:prSet/>
      <dgm:spPr/>
      <dgm:t>
        <a:bodyPr/>
        <a:lstStyle/>
        <a:p>
          <a:endParaRPr lang="en-US"/>
        </a:p>
      </dgm:t>
    </dgm:pt>
    <dgm:pt modelId="{0E7F7BBF-4FA8-404D-B4C7-E015839FC95B}">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Predication of other incidents using NLP techniques </a:t>
          </a:r>
        </a:p>
      </dgm:t>
    </dgm:pt>
    <dgm:pt modelId="{F9276A6F-8185-43CC-89A3-693DB2048DAE}" type="parTrans" cxnId="{C89D0D07-5221-4DC8-8E61-B5989223FAA5}">
      <dgm:prSet/>
      <dgm:spPr/>
      <dgm:t>
        <a:bodyPr/>
        <a:lstStyle/>
        <a:p>
          <a:endParaRPr lang="en-US"/>
        </a:p>
      </dgm:t>
    </dgm:pt>
    <dgm:pt modelId="{25DAD191-A109-44DF-8867-D3E73A76536E}" type="sibTrans" cxnId="{C89D0D07-5221-4DC8-8E61-B5989223FAA5}">
      <dgm:prSet/>
      <dgm:spPr>
        <a:solidFill>
          <a:schemeClr val="bg1">
            <a:lumMod val="65000"/>
          </a:schemeClr>
        </a:solidFill>
      </dgm:spPr>
      <dgm:t>
        <a:bodyPr/>
        <a:lstStyle/>
        <a:p>
          <a:endParaRPr lang="en-US">
            <a:solidFill>
              <a:schemeClr val="accent1">
                <a:lumMod val="50000"/>
              </a:schemeClr>
            </a:solidFill>
          </a:endParaRPr>
        </a:p>
      </dgm:t>
    </dgm:pt>
    <dgm:pt modelId="{AF79DD7E-2E53-4018-83AF-4D5252428A79}">
      <dgm:prSet/>
      <dgm:spPr>
        <a:solidFill>
          <a:schemeClr val="accent5">
            <a:lumMod val="20000"/>
            <a:lumOff val="80000"/>
          </a:schemeClr>
        </a:solidFill>
      </dgm:spPr>
      <dgm:t>
        <a:bodyPr/>
        <a:lstStyle/>
        <a:p>
          <a:r>
            <a:rPr lang="en-IN" b="0" i="0" dirty="0">
              <a:solidFill>
                <a:srgbClr val="1F245C"/>
              </a:solidFill>
              <a:latin typeface="Avenir Next" panose="020B0503020202020204" pitchFamily="34" charset="0"/>
            </a:rPr>
            <a:t>Prediction of resolution time </a:t>
          </a:r>
        </a:p>
      </dgm:t>
    </dgm:pt>
    <dgm:pt modelId="{8AC38483-8B7D-437E-9D7D-7F415CA67F0D}" type="parTrans" cxnId="{B3432CDC-6736-479C-89D9-83D10A9799A5}">
      <dgm:prSet/>
      <dgm:spPr/>
      <dgm:t>
        <a:bodyPr/>
        <a:lstStyle/>
        <a:p>
          <a:endParaRPr lang="en-US"/>
        </a:p>
      </dgm:t>
    </dgm:pt>
    <dgm:pt modelId="{805002E7-791B-4C9A-B3B1-75AD6C4827C3}" type="sibTrans" cxnId="{B3432CDC-6736-479C-89D9-83D10A9799A5}">
      <dgm:prSet/>
      <dgm:spPr>
        <a:solidFill>
          <a:schemeClr val="bg1">
            <a:lumMod val="65000"/>
          </a:schemeClr>
        </a:solidFill>
      </dgm:spPr>
      <dgm:t>
        <a:bodyPr/>
        <a:lstStyle/>
        <a:p>
          <a:endParaRPr lang="en-US">
            <a:solidFill>
              <a:schemeClr val="accent1">
                <a:lumMod val="50000"/>
              </a:schemeClr>
            </a:solidFill>
          </a:endParaRPr>
        </a:p>
      </dgm:t>
    </dgm:pt>
    <dgm:pt modelId="{F2B427D4-2966-4D63-8EC6-28D21FD6BC19}">
      <dgm:prSet/>
      <dgm:spPr>
        <a:solidFill>
          <a:schemeClr val="accent2">
            <a:lumMod val="20000"/>
            <a:lumOff val="80000"/>
          </a:schemeClr>
        </a:solidFill>
      </dgm:spPr>
      <dgm:t>
        <a:bodyPr/>
        <a:lstStyle/>
        <a:p>
          <a:r>
            <a:rPr lang="en-US" b="0" i="0" dirty="0">
              <a:solidFill>
                <a:schemeClr val="accent2">
                  <a:lumMod val="50000"/>
                </a:schemeClr>
              </a:solidFill>
              <a:latin typeface="Avenir Next" panose="020B0503020202020204" pitchFamily="34" charset="0"/>
            </a:rPr>
            <a:t>Predicting possibility of a change failure</a:t>
          </a:r>
        </a:p>
      </dgm:t>
    </dgm:pt>
    <dgm:pt modelId="{28AD1B46-4FE6-4C7A-B383-4732359620FB}" type="parTrans" cxnId="{BBB0A3DB-D4DC-4237-9E37-C2F8F4FE543E}">
      <dgm:prSet/>
      <dgm:spPr/>
      <dgm:t>
        <a:bodyPr/>
        <a:lstStyle/>
        <a:p>
          <a:endParaRPr lang="en-US"/>
        </a:p>
      </dgm:t>
    </dgm:pt>
    <dgm:pt modelId="{FB2AE8D0-029B-4537-9DBE-D10E0E6770C5}" type="sibTrans" cxnId="{BBB0A3DB-D4DC-4237-9E37-C2F8F4FE543E}">
      <dgm:prSet/>
      <dgm:spPr>
        <a:solidFill>
          <a:schemeClr val="bg1">
            <a:lumMod val="65000"/>
          </a:schemeClr>
        </a:solidFill>
      </dgm:spPr>
      <dgm:t>
        <a:bodyPr/>
        <a:lstStyle/>
        <a:p>
          <a:endParaRPr lang="en-US">
            <a:solidFill>
              <a:schemeClr val="accent1">
                <a:lumMod val="50000"/>
              </a:schemeClr>
            </a:solidFill>
          </a:endParaRPr>
        </a:p>
      </dgm:t>
    </dgm:pt>
    <dgm:pt modelId="{B29EBF7F-27A1-4374-9B04-C65D43FE8C7C}">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Predict the components related new change</a:t>
          </a:r>
        </a:p>
      </dgm:t>
    </dgm:pt>
    <dgm:pt modelId="{9DD4289D-124C-41B7-ABE0-AB28C5332981}" type="parTrans" cxnId="{F606DE53-3502-44EE-982F-F70747608A96}">
      <dgm:prSet/>
      <dgm:spPr/>
      <dgm:t>
        <a:bodyPr/>
        <a:lstStyle/>
        <a:p>
          <a:endParaRPr lang="en-US"/>
        </a:p>
      </dgm:t>
    </dgm:pt>
    <dgm:pt modelId="{0BAD67E0-6F5E-4338-85B4-1BB72E274F7B}" type="sibTrans" cxnId="{F606DE53-3502-44EE-982F-F70747608A96}">
      <dgm:prSet/>
      <dgm:spPr>
        <a:solidFill>
          <a:schemeClr val="bg1">
            <a:lumMod val="65000"/>
          </a:schemeClr>
        </a:solidFill>
      </dgm:spPr>
      <dgm:t>
        <a:bodyPr/>
        <a:lstStyle/>
        <a:p>
          <a:endParaRPr lang="en-US">
            <a:solidFill>
              <a:schemeClr val="accent1">
                <a:lumMod val="50000"/>
              </a:schemeClr>
            </a:solidFill>
          </a:endParaRPr>
        </a:p>
      </dgm:t>
    </dgm:pt>
    <dgm:pt modelId="{4E8FB186-588F-47D7-8361-3074E247D747}">
      <dgm:prSet/>
      <dgm:spPr>
        <a:solidFill>
          <a:schemeClr val="accent5">
            <a:lumMod val="20000"/>
            <a:lumOff val="80000"/>
          </a:schemeClr>
        </a:solidFill>
      </dgm:spPr>
      <dgm:t>
        <a:bodyPr/>
        <a:lstStyle/>
        <a:p>
          <a:r>
            <a:rPr lang="en-US" b="0" i="0" dirty="0">
              <a:solidFill>
                <a:srgbClr val="1F245C"/>
              </a:solidFill>
              <a:latin typeface="Avenir Next" panose="020B0503020202020204" pitchFamily="34" charset="0"/>
            </a:rPr>
            <a:t>Predicting possible incident on a new deployment</a:t>
          </a:r>
          <a:endParaRPr lang="en-IN" b="0" i="0" dirty="0">
            <a:solidFill>
              <a:srgbClr val="1F245C"/>
            </a:solidFill>
            <a:latin typeface="Avenir Next" panose="020B0503020202020204" pitchFamily="34" charset="0"/>
          </a:endParaRPr>
        </a:p>
      </dgm:t>
    </dgm:pt>
    <dgm:pt modelId="{80B9DA7F-2466-4CDF-A871-6327B45B4168}" type="parTrans" cxnId="{050100C6-BBC1-445E-93B2-30B57C7A8337}">
      <dgm:prSet/>
      <dgm:spPr/>
      <dgm:t>
        <a:bodyPr/>
        <a:lstStyle/>
        <a:p>
          <a:endParaRPr lang="en-US"/>
        </a:p>
      </dgm:t>
    </dgm:pt>
    <dgm:pt modelId="{47F605C1-4818-4BBD-B098-1EA2B6B70CF8}" type="sibTrans" cxnId="{050100C6-BBC1-445E-93B2-30B57C7A8337}">
      <dgm:prSet/>
      <dgm:spPr>
        <a:solidFill>
          <a:schemeClr val="bg1">
            <a:lumMod val="65000"/>
          </a:schemeClr>
        </a:solidFill>
      </dgm:spPr>
      <dgm:t>
        <a:bodyPr/>
        <a:lstStyle/>
        <a:p>
          <a:endParaRPr lang="en-US">
            <a:solidFill>
              <a:schemeClr val="accent1">
                <a:lumMod val="50000"/>
              </a:schemeClr>
            </a:solidFill>
          </a:endParaRPr>
        </a:p>
      </dgm:t>
    </dgm:pt>
    <dgm:pt modelId="{9D6CA158-5046-4131-8213-D535F79FE7ED}">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Root Cause Analysis</a:t>
          </a:r>
        </a:p>
      </dgm:t>
    </dgm:pt>
    <dgm:pt modelId="{42AE809C-69AE-4AE5-A196-36BBFA104854}" type="parTrans" cxnId="{0D3ECBEB-27EA-4E3C-B41D-5E120214F7BA}">
      <dgm:prSet/>
      <dgm:spPr/>
      <dgm:t>
        <a:bodyPr/>
        <a:lstStyle/>
        <a:p>
          <a:endParaRPr lang="en-US"/>
        </a:p>
      </dgm:t>
    </dgm:pt>
    <dgm:pt modelId="{DB7F06C7-DB5C-42E3-8E96-692B475700A9}" type="sibTrans" cxnId="{0D3ECBEB-27EA-4E3C-B41D-5E120214F7BA}">
      <dgm:prSet/>
      <dgm:spPr>
        <a:solidFill>
          <a:schemeClr val="bg1">
            <a:lumMod val="65000"/>
          </a:schemeClr>
        </a:solidFill>
      </dgm:spPr>
      <dgm:t>
        <a:bodyPr/>
        <a:lstStyle/>
        <a:p>
          <a:endParaRPr lang="en-US">
            <a:solidFill>
              <a:schemeClr val="accent1">
                <a:lumMod val="50000"/>
              </a:schemeClr>
            </a:solidFill>
          </a:endParaRPr>
        </a:p>
      </dgm:t>
    </dgm:pt>
    <dgm:pt modelId="{C6E9C029-24C5-48E2-B964-7B5C82B8D351}">
      <dgm:prSet phldrT="[Tex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Data Analysis</a:t>
          </a:r>
        </a:p>
      </dgm:t>
    </dgm:pt>
    <dgm:pt modelId="{095351F0-0FF9-4B5F-A8BD-7D845437365C}" type="parTrans" cxnId="{CA2AFCC8-77AB-4130-AD2B-B6A497EDB161}">
      <dgm:prSet/>
      <dgm:spPr/>
      <dgm:t>
        <a:bodyPr/>
        <a:lstStyle/>
        <a:p>
          <a:endParaRPr lang="en-US"/>
        </a:p>
      </dgm:t>
    </dgm:pt>
    <dgm:pt modelId="{905689A4-EAE9-4832-A8BC-3F7D56056596}" type="sibTrans" cxnId="{CA2AFCC8-77AB-4130-AD2B-B6A497EDB161}">
      <dgm:prSet/>
      <dgm:spPr>
        <a:solidFill>
          <a:srgbClr val="178B54"/>
        </a:solidFill>
      </dgm:spPr>
      <dgm:t>
        <a:bodyPr/>
        <a:lstStyle/>
        <a:p>
          <a:endParaRPr lang="en-US"/>
        </a:p>
      </dgm:t>
    </dgm:pt>
    <dgm:pt modelId="{5A335ACE-AFE2-4270-AB28-0D20F56884B0}">
      <dgm:prSet phldrT="[Tex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Data Collection</a:t>
          </a:r>
          <a:endParaRPr lang="en-US" b="0" i="0" dirty="0">
            <a:solidFill>
              <a:schemeClr val="accent2">
                <a:lumMod val="50000"/>
              </a:schemeClr>
            </a:solidFill>
            <a:latin typeface="Avenir Next" panose="020B0503020202020204" pitchFamily="34" charset="0"/>
          </a:endParaRPr>
        </a:p>
      </dgm:t>
    </dgm:pt>
    <dgm:pt modelId="{AE05ED8C-0CB1-4FAB-808F-35BBFB331909}" type="parTrans" cxnId="{A9D30C63-189A-427B-A76B-4DCB5EE7FBB8}">
      <dgm:prSet/>
      <dgm:spPr/>
      <dgm:t>
        <a:bodyPr/>
        <a:lstStyle/>
        <a:p>
          <a:endParaRPr lang="en-US"/>
        </a:p>
      </dgm:t>
    </dgm:pt>
    <dgm:pt modelId="{5912F24A-026E-4059-9C48-0CA5245D6A94}" type="sibTrans" cxnId="{A9D30C63-189A-427B-A76B-4DCB5EE7FBB8}">
      <dgm:prSet/>
      <dgm:spPr>
        <a:solidFill>
          <a:srgbClr val="178B54"/>
        </a:solidFill>
      </dgm:spPr>
      <dgm:t>
        <a:bodyPr/>
        <a:lstStyle/>
        <a:p>
          <a:endParaRPr lang="en-US"/>
        </a:p>
      </dgm:t>
    </dgm:pt>
    <dgm:pt modelId="{E508ABC4-B457-4A55-A7D8-260F8216D5FE}">
      <dgm:prSet/>
      <dgm:spPr>
        <a:solidFill>
          <a:schemeClr val="accent2">
            <a:lumMod val="20000"/>
            <a:lumOff val="80000"/>
          </a:schemeClr>
        </a:solidFill>
      </dgm:spPr>
      <dgm:t>
        <a:bodyPr/>
        <a:lstStyle/>
        <a:p>
          <a:r>
            <a:rPr lang="en-IN" b="0" i="0" dirty="0">
              <a:solidFill>
                <a:schemeClr val="accent2">
                  <a:lumMod val="50000"/>
                </a:schemeClr>
              </a:solidFill>
              <a:latin typeface="Avenir Next" panose="020B0503020202020204" pitchFamily="34" charset="0"/>
            </a:rPr>
            <a:t>Documentation</a:t>
          </a:r>
        </a:p>
      </dgm:t>
    </dgm:pt>
    <dgm:pt modelId="{005766C2-9BDB-4090-A59F-C835820A1A46}" type="parTrans" cxnId="{051E4CBA-4728-4B7E-A173-ADF72E3F7B94}">
      <dgm:prSet/>
      <dgm:spPr/>
      <dgm:t>
        <a:bodyPr/>
        <a:lstStyle/>
        <a:p>
          <a:endParaRPr lang="en-US"/>
        </a:p>
      </dgm:t>
    </dgm:pt>
    <dgm:pt modelId="{BF8F3D41-A38D-4CDC-BC81-4195016C858A}" type="sibTrans" cxnId="{051E4CBA-4728-4B7E-A173-ADF72E3F7B94}">
      <dgm:prSet/>
      <dgm:spPr/>
      <dgm:t>
        <a:bodyPr/>
        <a:lstStyle/>
        <a:p>
          <a:endParaRPr lang="en-US"/>
        </a:p>
      </dgm:t>
    </dgm:pt>
    <dgm:pt modelId="{F5292D06-983A-4F84-90FF-20380390E62C}" type="pres">
      <dgm:prSet presAssocID="{EE93E660-6596-4451-8019-032FC2A6B4AA}" presName="diagram" presStyleCnt="0">
        <dgm:presLayoutVars>
          <dgm:dir/>
          <dgm:resizeHandles val="exact"/>
        </dgm:presLayoutVars>
      </dgm:prSet>
      <dgm:spPr/>
    </dgm:pt>
    <dgm:pt modelId="{4E450D6C-52C1-49DD-AF4D-587CCEBF4710}" type="pres">
      <dgm:prSet presAssocID="{C7213AEE-A3B9-48EE-970F-7FB6B71861E6}" presName="node" presStyleLbl="node1" presStyleIdx="0" presStyleCnt="14">
        <dgm:presLayoutVars>
          <dgm:bulletEnabled val="1"/>
        </dgm:presLayoutVars>
      </dgm:prSet>
      <dgm:spPr/>
    </dgm:pt>
    <dgm:pt modelId="{A48B71B6-DE3E-4F48-B1C3-FAF7AFA09863}" type="pres">
      <dgm:prSet presAssocID="{BC1B332E-0E55-4D11-8567-5BD6C6F316B6}" presName="sibTrans" presStyleLbl="sibTrans2D1" presStyleIdx="0" presStyleCnt="13"/>
      <dgm:spPr/>
    </dgm:pt>
    <dgm:pt modelId="{FE5B2E7A-10B6-4AD7-A5B1-5D997451A4EA}" type="pres">
      <dgm:prSet presAssocID="{BC1B332E-0E55-4D11-8567-5BD6C6F316B6}" presName="connectorText" presStyleLbl="sibTrans2D1" presStyleIdx="0" presStyleCnt="13"/>
      <dgm:spPr/>
    </dgm:pt>
    <dgm:pt modelId="{BC8661BC-6744-4BE2-8D88-AA5715937E42}" type="pres">
      <dgm:prSet presAssocID="{5A335ACE-AFE2-4270-AB28-0D20F56884B0}" presName="node" presStyleLbl="node1" presStyleIdx="1" presStyleCnt="14">
        <dgm:presLayoutVars>
          <dgm:bulletEnabled val="1"/>
        </dgm:presLayoutVars>
      </dgm:prSet>
      <dgm:spPr/>
    </dgm:pt>
    <dgm:pt modelId="{5E73414A-2B83-4A5D-83AF-EE81EC03651E}" type="pres">
      <dgm:prSet presAssocID="{5912F24A-026E-4059-9C48-0CA5245D6A94}" presName="sibTrans" presStyleLbl="sibTrans2D1" presStyleIdx="1" presStyleCnt="13"/>
      <dgm:spPr/>
    </dgm:pt>
    <dgm:pt modelId="{D57569F4-4D2B-4B21-B733-8193267BDB48}" type="pres">
      <dgm:prSet presAssocID="{5912F24A-026E-4059-9C48-0CA5245D6A94}" presName="connectorText" presStyleLbl="sibTrans2D1" presStyleIdx="1" presStyleCnt="13"/>
      <dgm:spPr/>
    </dgm:pt>
    <dgm:pt modelId="{2BF366DE-E45B-4C66-AB15-4FB25080FDB4}" type="pres">
      <dgm:prSet presAssocID="{C6E9C029-24C5-48E2-B964-7B5C82B8D351}" presName="node" presStyleLbl="node1" presStyleIdx="2" presStyleCnt="14">
        <dgm:presLayoutVars>
          <dgm:bulletEnabled val="1"/>
        </dgm:presLayoutVars>
      </dgm:prSet>
      <dgm:spPr/>
    </dgm:pt>
    <dgm:pt modelId="{6069830C-9280-493F-BB1D-116184FEC536}" type="pres">
      <dgm:prSet presAssocID="{905689A4-EAE9-4832-A8BC-3F7D56056596}" presName="sibTrans" presStyleLbl="sibTrans2D1" presStyleIdx="2" presStyleCnt="13"/>
      <dgm:spPr/>
    </dgm:pt>
    <dgm:pt modelId="{6F52962D-8002-4E0A-A04F-1A28A40FEFD2}" type="pres">
      <dgm:prSet presAssocID="{905689A4-EAE9-4832-A8BC-3F7D56056596}" presName="connectorText" presStyleLbl="sibTrans2D1" presStyleIdx="2" presStyleCnt="13"/>
      <dgm:spPr/>
    </dgm:pt>
    <dgm:pt modelId="{7DC0EA6C-F166-49E6-9AA1-B6E964B78F66}" type="pres">
      <dgm:prSet presAssocID="{34A36A15-75C1-4CC5-8AD2-87BD21DA895C}" presName="node" presStyleLbl="node1" presStyleIdx="3" presStyleCnt="14">
        <dgm:presLayoutVars>
          <dgm:bulletEnabled val="1"/>
        </dgm:presLayoutVars>
      </dgm:prSet>
      <dgm:spPr/>
    </dgm:pt>
    <dgm:pt modelId="{560B3AC8-71DE-428B-83B5-14C1E59CE261}" type="pres">
      <dgm:prSet presAssocID="{865A329A-DD71-4AB3-9F1F-9E71A33BF789}" presName="sibTrans" presStyleLbl="sibTrans2D1" presStyleIdx="3" presStyleCnt="13"/>
      <dgm:spPr/>
    </dgm:pt>
    <dgm:pt modelId="{298E7DA6-98F0-4B1B-9599-7463E17D6107}" type="pres">
      <dgm:prSet presAssocID="{865A329A-DD71-4AB3-9F1F-9E71A33BF789}" presName="connectorText" presStyleLbl="sibTrans2D1" presStyleIdx="3" presStyleCnt="13"/>
      <dgm:spPr/>
    </dgm:pt>
    <dgm:pt modelId="{4371BBC8-B4ED-49C9-9DDA-D7E74C516B0C}" type="pres">
      <dgm:prSet presAssocID="{0C368D89-32FA-41D6-BC88-7BE3778D4556}" presName="node" presStyleLbl="node1" presStyleIdx="4" presStyleCnt="14">
        <dgm:presLayoutVars>
          <dgm:bulletEnabled val="1"/>
        </dgm:presLayoutVars>
      </dgm:prSet>
      <dgm:spPr/>
    </dgm:pt>
    <dgm:pt modelId="{3B17141E-4039-40F8-A1A6-584C3BFD38C4}" type="pres">
      <dgm:prSet presAssocID="{CAE61C8C-AE5C-4371-87A3-23A3A2D97EBB}" presName="sibTrans" presStyleLbl="sibTrans2D1" presStyleIdx="4" presStyleCnt="13" custLinFactNeighborY="22070"/>
      <dgm:spPr/>
    </dgm:pt>
    <dgm:pt modelId="{2645286D-5270-4C10-86C5-90C0AB4B45EB}" type="pres">
      <dgm:prSet presAssocID="{CAE61C8C-AE5C-4371-87A3-23A3A2D97EBB}" presName="connectorText" presStyleLbl="sibTrans2D1" presStyleIdx="4" presStyleCnt="13"/>
      <dgm:spPr/>
    </dgm:pt>
    <dgm:pt modelId="{C0070E97-FCF6-43B5-8CD5-A1292AE1123B}" type="pres">
      <dgm:prSet presAssocID="{D5030F09-8F3C-468E-8A93-ED190BCF3012}" presName="node" presStyleLbl="node1" presStyleIdx="5" presStyleCnt="14">
        <dgm:presLayoutVars>
          <dgm:bulletEnabled val="1"/>
        </dgm:presLayoutVars>
      </dgm:prSet>
      <dgm:spPr/>
    </dgm:pt>
    <dgm:pt modelId="{772DD67E-8020-4A29-88CC-1FB7D556A2F0}" type="pres">
      <dgm:prSet presAssocID="{4B91405E-3A4A-4F67-8B99-707E83B20979}" presName="sibTrans" presStyleLbl="sibTrans2D1" presStyleIdx="5" presStyleCnt="13"/>
      <dgm:spPr/>
    </dgm:pt>
    <dgm:pt modelId="{40543E84-2FA2-4182-9362-EE3097626F99}" type="pres">
      <dgm:prSet presAssocID="{4B91405E-3A4A-4F67-8B99-707E83B20979}" presName="connectorText" presStyleLbl="sibTrans2D1" presStyleIdx="5" presStyleCnt="13"/>
      <dgm:spPr/>
    </dgm:pt>
    <dgm:pt modelId="{3C8CD57E-A0DF-4152-AE16-4F6431788678}" type="pres">
      <dgm:prSet presAssocID="{C480CA6D-A394-4076-AE6F-ACB920575E4C}" presName="node" presStyleLbl="node1" presStyleIdx="6" presStyleCnt="14">
        <dgm:presLayoutVars>
          <dgm:bulletEnabled val="1"/>
        </dgm:presLayoutVars>
      </dgm:prSet>
      <dgm:spPr/>
    </dgm:pt>
    <dgm:pt modelId="{5C605094-BD4F-4AE8-A8ED-D094D4782FEF}" type="pres">
      <dgm:prSet presAssocID="{29DD4401-5643-4890-AF76-CF9AAB47B536}" presName="sibTrans" presStyleLbl="sibTrans2D1" presStyleIdx="6" presStyleCnt="13"/>
      <dgm:spPr/>
    </dgm:pt>
    <dgm:pt modelId="{4BC2F43E-335B-41C7-B733-9790B9FBE431}" type="pres">
      <dgm:prSet presAssocID="{29DD4401-5643-4890-AF76-CF9AAB47B536}" presName="connectorText" presStyleLbl="sibTrans2D1" presStyleIdx="6" presStyleCnt="13"/>
      <dgm:spPr/>
    </dgm:pt>
    <dgm:pt modelId="{F1F3A326-19EB-4CEC-AA44-21C77FE066E9}" type="pres">
      <dgm:prSet presAssocID="{0E7F7BBF-4FA8-404D-B4C7-E015839FC95B}" presName="node" presStyleLbl="node1" presStyleIdx="7" presStyleCnt="14">
        <dgm:presLayoutVars>
          <dgm:bulletEnabled val="1"/>
        </dgm:presLayoutVars>
      </dgm:prSet>
      <dgm:spPr/>
    </dgm:pt>
    <dgm:pt modelId="{8857C1A9-AD51-4877-82B9-99E8EB859104}" type="pres">
      <dgm:prSet presAssocID="{25DAD191-A109-44DF-8867-D3E73A76536E}" presName="sibTrans" presStyleLbl="sibTrans2D1" presStyleIdx="7" presStyleCnt="13"/>
      <dgm:spPr/>
    </dgm:pt>
    <dgm:pt modelId="{0DC773DC-0E59-4C4D-A1A1-0421D27A23F5}" type="pres">
      <dgm:prSet presAssocID="{25DAD191-A109-44DF-8867-D3E73A76536E}" presName="connectorText" presStyleLbl="sibTrans2D1" presStyleIdx="7" presStyleCnt="13"/>
      <dgm:spPr/>
    </dgm:pt>
    <dgm:pt modelId="{3D497247-3D65-43F7-B4FD-17E8BA005BC5}" type="pres">
      <dgm:prSet presAssocID="{AF79DD7E-2E53-4018-83AF-4D5252428A79}" presName="node" presStyleLbl="node1" presStyleIdx="8" presStyleCnt="14">
        <dgm:presLayoutVars>
          <dgm:bulletEnabled val="1"/>
        </dgm:presLayoutVars>
      </dgm:prSet>
      <dgm:spPr/>
    </dgm:pt>
    <dgm:pt modelId="{C272E9A4-7DEA-4B00-B90A-66FECF2FFCE4}" type="pres">
      <dgm:prSet presAssocID="{805002E7-791B-4C9A-B3B1-75AD6C4827C3}" presName="sibTrans" presStyleLbl="sibTrans2D1" presStyleIdx="8" presStyleCnt="13"/>
      <dgm:spPr/>
    </dgm:pt>
    <dgm:pt modelId="{F7BE42CB-EDF0-4DC9-8EBB-406CABB48259}" type="pres">
      <dgm:prSet presAssocID="{805002E7-791B-4C9A-B3B1-75AD6C4827C3}" presName="connectorText" presStyleLbl="sibTrans2D1" presStyleIdx="8" presStyleCnt="13"/>
      <dgm:spPr/>
    </dgm:pt>
    <dgm:pt modelId="{4AE53D86-2651-4C8B-9399-DBD1EDDB8482}" type="pres">
      <dgm:prSet presAssocID="{F2B427D4-2966-4D63-8EC6-28D21FD6BC19}" presName="node" presStyleLbl="node1" presStyleIdx="9" presStyleCnt="14">
        <dgm:presLayoutVars>
          <dgm:bulletEnabled val="1"/>
        </dgm:presLayoutVars>
      </dgm:prSet>
      <dgm:spPr/>
    </dgm:pt>
    <dgm:pt modelId="{0ECB37D0-A625-4DE7-9D00-B06130F26F89}" type="pres">
      <dgm:prSet presAssocID="{FB2AE8D0-029B-4537-9DBE-D10E0E6770C5}" presName="sibTrans" presStyleLbl="sibTrans2D1" presStyleIdx="9" presStyleCnt="13" custLinFactNeighborY="30898"/>
      <dgm:spPr/>
    </dgm:pt>
    <dgm:pt modelId="{5095593A-9226-4823-A1FB-2A5FB4614E0A}" type="pres">
      <dgm:prSet presAssocID="{FB2AE8D0-029B-4537-9DBE-D10E0E6770C5}" presName="connectorText" presStyleLbl="sibTrans2D1" presStyleIdx="9" presStyleCnt="13"/>
      <dgm:spPr/>
    </dgm:pt>
    <dgm:pt modelId="{2C5FEF94-FBC9-47E5-BD32-1C64863E20D2}" type="pres">
      <dgm:prSet presAssocID="{B29EBF7F-27A1-4374-9B04-C65D43FE8C7C}" presName="node" presStyleLbl="node1" presStyleIdx="10" presStyleCnt="14">
        <dgm:presLayoutVars>
          <dgm:bulletEnabled val="1"/>
        </dgm:presLayoutVars>
      </dgm:prSet>
      <dgm:spPr/>
    </dgm:pt>
    <dgm:pt modelId="{9422D398-92EC-410E-A6A5-873C48309C68}" type="pres">
      <dgm:prSet presAssocID="{0BAD67E0-6F5E-4338-85B4-1BB72E274F7B}" presName="sibTrans" presStyleLbl="sibTrans2D1" presStyleIdx="10" presStyleCnt="13"/>
      <dgm:spPr/>
    </dgm:pt>
    <dgm:pt modelId="{E6C2E891-46AF-4F7F-A68D-660796C8A2C8}" type="pres">
      <dgm:prSet presAssocID="{0BAD67E0-6F5E-4338-85B4-1BB72E274F7B}" presName="connectorText" presStyleLbl="sibTrans2D1" presStyleIdx="10" presStyleCnt="13"/>
      <dgm:spPr/>
    </dgm:pt>
    <dgm:pt modelId="{1F6EAB34-93C4-4626-9CE4-71B429295087}" type="pres">
      <dgm:prSet presAssocID="{4E8FB186-588F-47D7-8361-3074E247D747}" presName="node" presStyleLbl="node1" presStyleIdx="11" presStyleCnt="14">
        <dgm:presLayoutVars>
          <dgm:bulletEnabled val="1"/>
        </dgm:presLayoutVars>
      </dgm:prSet>
      <dgm:spPr/>
    </dgm:pt>
    <dgm:pt modelId="{51E09E62-8E7D-4F62-9FB8-3088258BF5FA}" type="pres">
      <dgm:prSet presAssocID="{47F605C1-4818-4BBD-B098-1EA2B6B70CF8}" presName="sibTrans" presStyleLbl="sibTrans2D1" presStyleIdx="11" presStyleCnt="13"/>
      <dgm:spPr/>
    </dgm:pt>
    <dgm:pt modelId="{F11C60D5-700C-44C0-9230-382E265BD0A2}" type="pres">
      <dgm:prSet presAssocID="{47F605C1-4818-4BBD-B098-1EA2B6B70CF8}" presName="connectorText" presStyleLbl="sibTrans2D1" presStyleIdx="11" presStyleCnt="13"/>
      <dgm:spPr/>
    </dgm:pt>
    <dgm:pt modelId="{7B3FBDD3-97EE-4CFB-819B-AFD052F6BD38}" type="pres">
      <dgm:prSet presAssocID="{9D6CA158-5046-4131-8213-D535F79FE7ED}" presName="node" presStyleLbl="node1" presStyleIdx="12" presStyleCnt="14">
        <dgm:presLayoutVars>
          <dgm:bulletEnabled val="1"/>
        </dgm:presLayoutVars>
      </dgm:prSet>
      <dgm:spPr/>
    </dgm:pt>
    <dgm:pt modelId="{66C8B369-D7D0-4858-89E2-68E039A0FF1F}" type="pres">
      <dgm:prSet presAssocID="{DB7F06C7-DB5C-42E3-8E96-692B475700A9}" presName="sibTrans" presStyleLbl="sibTrans2D1" presStyleIdx="12" presStyleCnt="13"/>
      <dgm:spPr/>
    </dgm:pt>
    <dgm:pt modelId="{4D47C027-4E46-42DF-964D-279749E54A4A}" type="pres">
      <dgm:prSet presAssocID="{DB7F06C7-DB5C-42E3-8E96-692B475700A9}" presName="connectorText" presStyleLbl="sibTrans2D1" presStyleIdx="12" presStyleCnt="13"/>
      <dgm:spPr/>
    </dgm:pt>
    <dgm:pt modelId="{8A608A05-32C6-4B90-A1E5-C41435EEA944}" type="pres">
      <dgm:prSet presAssocID="{E508ABC4-B457-4A55-A7D8-260F8216D5FE}" presName="node" presStyleLbl="node1" presStyleIdx="13" presStyleCnt="14">
        <dgm:presLayoutVars>
          <dgm:bulletEnabled val="1"/>
        </dgm:presLayoutVars>
      </dgm:prSet>
      <dgm:spPr/>
    </dgm:pt>
  </dgm:ptLst>
  <dgm:cxnLst>
    <dgm:cxn modelId="{96E72F00-29BF-48DA-BE89-42425D9D4287}" type="presOf" srcId="{29DD4401-5643-4890-AF76-CF9AAB47B536}" destId="{4BC2F43E-335B-41C7-B733-9790B9FBE431}" srcOrd="1" destOrd="0" presId="urn:microsoft.com/office/officeart/2005/8/layout/process5"/>
    <dgm:cxn modelId="{919A9400-B810-4EF8-A5A9-E8CF516C6B97}" type="presOf" srcId="{47F605C1-4818-4BBD-B098-1EA2B6B70CF8}" destId="{F11C60D5-700C-44C0-9230-382E265BD0A2}" srcOrd="1" destOrd="0" presId="urn:microsoft.com/office/officeart/2005/8/layout/process5"/>
    <dgm:cxn modelId="{C89D0D07-5221-4DC8-8E61-B5989223FAA5}" srcId="{EE93E660-6596-4451-8019-032FC2A6B4AA}" destId="{0E7F7BBF-4FA8-404D-B4C7-E015839FC95B}" srcOrd="7" destOrd="0" parTransId="{F9276A6F-8185-43CC-89A3-693DB2048DAE}" sibTransId="{25DAD191-A109-44DF-8867-D3E73A76536E}"/>
    <dgm:cxn modelId="{9826D10B-7F51-4502-AA43-1791A33A40EC}" type="presOf" srcId="{0E7F7BBF-4FA8-404D-B4C7-E015839FC95B}" destId="{F1F3A326-19EB-4CEC-AA44-21C77FE066E9}" srcOrd="0" destOrd="0" presId="urn:microsoft.com/office/officeart/2005/8/layout/process5"/>
    <dgm:cxn modelId="{1C58FD13-84DB-492B-A2FF-5B1461CBCD0C}" type="presOf" srcId="{25DAD191-A109-44DF-8867-D3E73A76536E}" destId="{8857C1A9-AD51-4877-82B9-99E8EB859104}" srcOrd="0" destOrd="0" presId="urn:microsoft.com/office/officeart/2005/8/layout/process5"/>
    <dgm:cxn modelId="{9D3D8A1B-5876-40DF-B26B-E359F95FA5F4}" type="presOf" srcId="{CFFCE88C-D71E-41DC-8C7F-FA4F2387BA17}" destId="{4371BBC8-B4ED-49C9-9DDA-D7E74C516B0C}" srcOrd="0" destOrd="2" presId="urn:microsoft.com/office/officeart/2005/8/layout/process5"/>
    <dgm:cxn modelId="{18FE3120-9D74-4FED-9369-7E64621EC7B1}" type="presOf" srcId="{CAE61C8C-AE5C-4371-87A3-23A3A2D97EBB}" destId="{3B17141E-4039-40F8-A1A6-584C3BFD38C4}" srcOrd="0" destOrd="0" presId="urn:microsoft.com/office/officeart/2005/8/layout/process5"/>
    <dgm:cxn modelId="{EA6CB221-C94D-45D7-89C9-BD1397CD915A}" srcId="{EE93E660-6596-4451-8019-032FC2A6B4AA}" destId="{C480CA6D-A394-4076-AE6F-ACB920575E4C}" srcOrd="6" destOrd="0" parTransId="{C08C6F4E-B779-4795-8F87-0E6D2D5E7A1C}" sibTransId="{29DD4401-5643-4890-AF76-CF9AAB47B536}"/>
    <dgm:cxn modelId="{0971B62C-E83F-4859-884C-9D2938BBFD9A}" type="presOf" srcId="{9D6CA158-5046-4131-8213-D535F79FE7ED}" destId="{7B3FBDD3-97EE-4CFB-819B-AFD052F6BD38}" srcOrd="0" destOrd="0" presId="urn:microsoft.com/office/officeart/2005/8/layout/process5"/>
    <dgm:cxn modelId="{37548D33-3540-4A7C-9805-BD0C8163ED74}" type="presOf" srcId="{ABA1B470-D98A-4D4D-8328-75A2C6CE50FE}" destId="{C0070E97-FCF6-43B5-8CD5-A1292AE1123B}" srcOrd="0" destOrd="2" presId="urn:microsoft.com/office/officeart/2005/8/layout/process5"/>
    <dgm:cxn modelId="{A3F95B35-B120-4E8A-AF31-021A256D6BEE}" type="presOf" srcId="{0BAD67E0-6F5E-4338-85B4-1BB72E274F7B}" destId="{9422D398-92EC-410E-A6A5-873C48309C68}" srcOrd="0" destOrd="0" presId="urn:microsoft.com/office/officeart/2005/8/layout/process5"/>
    <dgm:cxn modelId="{01DF7037-B050-4560-8EC1-27BD25133801}" srcId="{D5030F09-8F3C-468E-8A93-ED190BCF3012}" destId="{ABA1B470-D98A-4D4D-8328-75A2C6CE50FE}" srcOrd="1" destOrd="0" parTransId="{9C3F3F13-DBD0-4457-B7FD-991B9570F00F}" sibTransId="{960DA6EF-F70D-4609-AAD6-F0C153C95FFD}"/>
    <dgm:cxn modelId="{F2B60938-DE93-439F-A1EE-B752BF121007}" type="presOf" srcId="{4B91405E-3A4A-4F67-8B99-707E83B20979}" destId="{772DD67E-8020-4A29-88CC-1FB7D556A2F0}" srcOrd="0" destOrd="0" presId="urn:microsoft.com/office/officeart/2005/8/layout/process5"/>
    <dgm:cxn modelId="{C7396B3F-D832-4F30-A7E4-7A0D4137F1CA}" type="presOf" srcId="{0BAD67E0-6F5E-4338-85B4-1BB72E274F7B}" destId="{E6C2E891-46AF-4F7F-A68D-660796C8A2C8}" srcOrd="1" destOrd="0" presId="urn:microsoft.com/office/officeart/2005/8/layout/process5"/>
    <dgm:cxn modelId="{8C284E40-A3D7-46BD-B1D9-BD2230F93EB0}" type="presOf" srcId="{C480CA6D-A394-4076-AE6F-ACB920575E4C}" destId="{3C8CD57E-A0DF-4152-AE16-4F6431788678}" srcOrd="0" destOrd="0" presId="urn:microsoft.com/office/officeart/2005/8/layout/process5"/>
    <dgm:cxn modelId="{2974BB60-BFBC-4ACC-8CEA-62A6228B120B}" type="presOf" srcId="{5A335ACE-AFE2-4270-AB28-0D20F56884B0}" destId="{BC8661BC-6744-4BE2-8D88-AA5715937E42}" srcOrd="0" destOrd="0" presId="urn:microsoft.com/office/officeart/2005/8/layout/process5"/>
    <dgm:cxn modelId="{2E9ED541-E876-4C2F-9766-92C012B55B24}" srcId="{EE93E660-6596-4451-8019-032FC2A6B4AA}" destId="{C7213AEE-A3B9-48EE-970F-7FB6B71861E6}" srcOrd="0" destOrd="0" parTransId="{6CD4C74D-DEFF-4339-A948-50D3F060D5ED}" sibTransId="{BC1B332E-0E55-4D11-8567-5BD6C6F316B6}"/>
    <dgm:cxn modelId="{A9D30C63-189A-427B-A76B-4DCB5EE7FBB8}" srcId="{EE93E660-6596-4451-8019-032FC2A6B4AA}" destId="{5A335ACE-AFE2-4270-AB28-0D20F56884B0}" srcOrd="1" destOrd="0" parTransId="{AE05ED8C-0CB1-4FAB-808F-35BBFB331909}" sibTransId="{5912F24A-026E-4059-9C48-0CA5245D6A94}"/>
    <dgm:cxn modelId="{3CBD3C4A-BB3E-4202-853E-DB6480EEE29E}" srcId="{EE93E660-6596-4451-8019-032FC2A6B4AA}" destId="{0C368D89-32FA-41D6-BC88-7BE3778D4556}" srcOrd="4" destOrd="0" parTransId="{1C6A5A23-A55B-48C2-A139-3AF1BF240588}" sibTransId="{CAE61C8C-AE5C-4371-87A3-23A3A2D97EBB}"/>
    <dgm:cxn modelId="{D1A5EF4A-ACEE-4022-9CA1-3061C8A36B03}" srcId="{C480CA6D-A394-4076-AE6F-ACB920575E4C}" destId="{94A24CA0-F979-460D-9D08-39C964640CF2}" srcOrd="0" destOrd="0" parTransId="{B6DCD751-6CE3-496C-ACD4-C3F527D98630}" sibTransId="{F7EB3FC5-BAB6-42D3-B6C7-F761559AAD12}"/>
    <dgm:cxn modelId="{BD6C086F-33C0-4BB6-B7E1-CEDBFFB8F69E}" type="presOf" srcId="{865A329A-DD71-4AB3-9F1F-9E71A33BF789}" destId="{560B3AC8-71DE-428B-83B5-14C1E59CE261}" srcOrd="0" destOrd="0" presId="urn:microsoft.com/office/officeart/2005/8/layout/process5"/>
    <dgm:cxn modelId="{F606DE53-3502-44EE-982F-F70747608A96}" srcId="{EE93E660-6596-4451-8019-032FC2A6B4AA}" destId="{B29EBF7F-27A1-4374-9B04-C65D43FE8C7C}" srcOrd="10" destOrd="0" parTransId="{9DD4289D-124C-41B7-ABE0-AB28C5332981}" sibTransId="{0BAD67E0-6F5E-4338-85B4-1BB72E274F7B}"/>
    <dgm:cxn modelId="{60245655-7DDA-4DE0-A32B-B9C8EAE9C0CD}" type="presOf" srcId="{29DD4401-5643-4890-AF76-CF9AAB47B536}" destId="{5C605094-BD4F-4AE8-A8ED-D094D4782FEF}" srcOrd="0" destOrd="0" presId="urn:microsoft.com/office/officeart/2005/8/layout/process5"/>
    <dgm:cxn modelId="{AEE87D75-D20F-420D-AEE0-B571A7756202}" type="presOf" srcId="{D5030F09-8F3C-468E-8A93-ED190BCF3012}" destId="{C0070E97-FCF6-43B5-8CD5-A1292AE1123B}" srcOrd="0" destOrd="0" presId="urn:microsoft.com/office/officeart/2005/8/layout/process5"/>
    <dgm:cxn modelId="{77518678-AF8C-4115-A288-B16ED4042641}" type="presOf" srcId="{EAF0B4E6-0651-427E-8F84-F3700BDFFCB0}" destId="{C0070E97-FCF6-43B5-8CD5-A1292AE1123B}" srcOrd="0" destOrd="1" presId="urn:microsoft.com/office/officeart/2005/8/layout/process5"/>
    <dgm:cxn modelId="{B6991479-071C-4449-91F7-4D44A20F633F}" type="presOf" srcId="{BC1B332E-0E55-4D11-8567-5BD6C6F316B6}" destId="{FE5B2E7A-10B6-4AD7-A5B1-5D997451A4EA}" srcOrd="1" destOrd="0" presId="urn:microsoft.com/office/officeart/2005/8/layout/process5"/>
    <dgm:cxn modelId="{89DFE284-4118-4316-9E8F-11EDF0E7CFD8}" type="presOf" srcId="{0C368D89-32FA-41D6-BC88-7BE3778D4556}" destId="{4371BBC8-B4ED-49C9-9DDA-D7E74C516B0C}" srcOrd="0" destOrd="0" presId="urn:microsoft.com/office/officeart/2005/8/layout/process5"/>
    <dgm:cxn modelId="{6BFE1A86-732B-4DF7-95E8-95DB1564B8E3}" srcId="{D5030F09-8F3C-468E-8A93-ED190BCF3012}" destId="{EAF0B4E6-0651-427E-8F84-F3700BDFFCB0}" srcOrd="0" destOrd="0" parTransId="{0454BDAF-5A16-4D20-89EA-8DCCE7D46A3B}" sibTransId="{67A33E36-0550-4335-A784-28E777E2522E}"/>
    <dgm:cxn modelId="{7BD07293-0FBC-4CA9-B4A7-37AACEE156AD}" srcId="{EE93E660-6596-4451-8019-032FC2A6B4AA}" destId="{D5030F09-8F3C-468E-8A93-ED190BCF3012}" srcOrd="5" destOrd="0" parTransId="{CD616710-0263-44A7-80EF-36E08FCCFDA6}" sibTransId="{4B91405E-3A4A-4F67-8B99-707E83B20979}"/>
    <dgm:cxn modelId="{DC587E93-B231-4F72-9722-81E4C1578E5F}" type="presOf" srcId="{DB7F06C7-DB5C-42E3-8E96-692B475700A9}" destId="{4D47C027-4E46-42DF-964D-279749E54A4A}" srcOrd="1" destOrd="0" presId="urn:microsoft.com/office/officeart/2005/8/layout/process5"/>
    <dgm:cxn modelId="{99817596-914E-4C46-810C-A73523C62D80}" type="presOf" srcId="{B29EBF7F-27A1-4374-9B04-C65D43FE8C7C}" destId="{2C5FEF94-FBC9-47E5-BD32-1C64863E20D2}" srcOrd="0" destOrd="0" presId="urn:microsoft.com/office/officeart/2005/8/layout/process5"/>
    <dgm:cxn modelId="{4FE4E59C-3403-4125-A60D-FDDEB4F60264}" type="presOf" srcId="{B4289702-23CF-4C23-8F32-48C967EFC85C}" destId="{4371BBC8-B4ED-49C9-9DDA-D7E74C516B0C}" srcOrd="0" destOrd="3" presId="urn:microsoft.com/office/officeart/2005/8/layout/process5"/>
    <dgm:cxn modelId="{72F9BEA0-6BB0-4236-BB20-C4F50F9694B7}" type="presOf" srcId="{905689A4-EAE9-4832-A8BC-3F7D56056596}" destId="{6069830C-9280-493F-BB1D-116184FEC536}" srcOrd="0" destOrd="0" presId="urn:microsoft.com/office/officeart/2005/8/layout/process5"/>
    <dgm:cxn modelId="{518E30A2-158E-4B32-AED4-B8B22DC6B469}" type="presOf" srcId="{C7213AEE-A3B9-48EE-970F-7FB6B71861E6}" destId="{4E450D6C-52C1-49DD-AF4D-587CCEBF4710}" srcOrd="0" destOrd="0" presId="urn:microsoft.com/office/officeart/2005/8/layout/process5"/>
    <dgm:cxn modelId="{65BBCBA2-DCD1-4636-A8B8-D3C8278EF67D}" type="presOf" srcId="{AF79DD7E-2E53-4018-83AF-4D5252428A79}" destId="{3D497247-3D65-43F7-B4FD-17E8BA005BC5}" srcOrd="0" destOrd="0" presId="urn:microsoft.com/office/officeart/2005/8/layout/process5"/>
    <dgm:cxn modelId="{722770A9-3AD4-4E26-B155-37E4154D8A32}" type="presOf" srcId="{F560C7F3-3D48-4C58-95AE-4C724F0BC65C}" destId="{4371BBC8-B4ED-49C9-9DDA-D7E74C516B0C}" srcOrd="0" destOrd="1" presId="urn:microsoft.com/office/officeart/2005/8/layout/process5"/>
    <dgm:cxn modelId="{A97C80AB-2B30-4899-8441-8875D19854EF}" type="presOf" srcId="{FB2AE8D0-029B-4537-9DBE-D10E0E6770C5}" destId="{0ECB37D0-A625-4DE7-9D00-B06130F26F89}" srcOrd="0" destOrd="0" presId="urn:microsoft.com/office/officeart/2005/8/layout/process5"/>
    <dgm:cxn modelId="{76AA03AC-1522-4825-B9BA-C5ADBCF452B2}" type="presOf" srcId="{3434F049-191A-4F3C-9F5A-D69C01BBF123}" destId="{3C8CD57E-A0DF-4152-AE16-4F6431788678}" srcOrd="0" destOrd="2" presId="urn:microsoft.com/office/officeart/2005/8/layout/process5"/>
    <dgm:cxn modelId="{051E4CBA-4728-4B7E-A173-ADF72E3F7B94}" srcId="{EE93E660-6596-4451-8019-032FC2A6B4AA}" destId="{E508ABC4-B457-4A55-A7D8-260F8216D5FE}" srcOrd="13" destOrd="0" parTransId="{005766C2-9BDB-4090-A59F-C835820A1A46}" sibTransId="{BF8F3D41-A38D-4CDC-BC81-4195016C858A}"/>
    <dgm:cxn modelId="{1C5264BB-B6A8-4B57-B3B6-EA1DA20B0F54}" type="presOf" srcId="{34A36A15-75C1-4CC5-8AD2-87BD21DA895C}" destId="{7DC0EA6C-F166-49E6-9AA1-B6E964B78F66}" srcOrd="0" destOrd="0" presId="urn:microsoft.com/office/officeart/2005/8/layout/process5"/>
    <dgm:cxn modelId="{7F706CBB-83DD-43FE-B783-802729F408D5}" type="presOf" srcId="{805002E7-791B-4C9A-B3B1-75AD6C4827C3}" destId="{F7BE42CB-EDF0-4DC9-8EBB-406CABB48259}" srcOrd="1" destOrd="0" presId="urn:microsoft.com/office/officeart/2005/8/layout/process5"/>
    <dgm:cxn modelId="{2C8737C2-B8D0-4B24-A62E-169135295D0C}" type="presOf" srcId="{805002E7-791B-4C9A-B3B1-75AD6C4827C3}" destId="{C272E9A4-7DEA-4B00-B90A-66FECF2FFCE4}" srcOrd="0" destOrd="0" presId="urn:microsoft.com/office/officeart/2005/8/layout/process5"/>
    <dgm:cxn modelId="{AC594FC2-C4AC-418D-AD29-1C6BF9C42DD6}" type="presOf" srcId="{C6E9C029-24C5-48E2-B964-7B5C82B8D351}" destId="{2BF366DE-E45B-4C66-AB15-4FB25080FDB4}" srcOrd="0" destOrd="0" presId="urn:microsoft.com/office/officeart/2005/8/layout/process5"/>
    <dgm:cxn modelId="{050100C6-BBC1-445E-93B2-30B57C7A8337}" srcId="{EE93E660-6596-4451-8019-032FC2A6B4AA}" destId="{4E8FB186-588F-47D7-8361-3074E247D747}" srcOrd="11" destOrd="0" parTransId="{80B9DA7F-2466-4CDF-A871-6327B45B4168}" sibTransId="{47F605C1-4818-4BBD-B098-1EA2B6B70CF8}"/>
    <dgm:cxn modelId="{CA2AFCC8-77AB-4130-AD2B-B6A497EDB161}" srcId="{EE93E660-6596-4451-8019-032FC2A6B4AA}" destId="{C6E9C029-24C5-48E2-B964-7B5C82B8D351}" srcOrd="2" destOrd="0" parTransId="{095351F0-0FF9-4B5F-A8BD-7D845437365C}" sibTransId="{905689A4-EAE9-4832-A8BC-3F7D56056596}"/>
    <dgm:cxn modelId="{6411BFC9-C1E6-40FD-A4F9-B2B1F22FA067}" type="presOf" srcId="{905689A4-EAE9-4832-A8BC-3F7D56056596}" destId="{6F52962D-8002-4E0A-A04F-1A28A40FEFD2}" srcOrd="1" destOrd="0" presId="urn:microsoft.com/office/officeart/2005/8/layout/process5"/>
    <dgm:cxn modelId="{DE3CE0CA-101F-4EA2-B784-840E5ED66172}" type="presOf" srcId="{EE93E660-6596-4451-8019-032FC2A6B4AA}" destId="{F5292D06-983A-4F84-90FF-20380390E62C}" srcOrd="0" destOrd="0" presId="urn:microsoft.com/office/officeart/2005/8/layout/process5"/>
    <dgm:cxn modelId="{BB963FD0-12F7-4E64-8055-8D1E9FB51768}" srcId="{0C368D89-32FA-41D6-BC88-7BE3778D4556}" destId="{F560C7F3-3D48-4C58-95AE-4C724F0BC65C}" srcOrd="0" destOrd="0" parTransId="{11CF84DB-67A8-4124-AFE6-579498EF4C75}" sibTransId="{8DFCD987-053F-4DD7-94AE-9995F25F0A35}"/>
    <dgm:cxn modelId="{7E0617D3-D9D5-460C-AD5B-1E627EBCF4A1}" type="presOf" srcId="{25DAD191-A109-44DF-8867-D3E73A76536E}" destId="{0DC773DC-0E59-4C4D-A1A1-0421D27A23F5}" srcOrd="1" destOrd="0" presId="urn:microsoft.com/office/officeart/2005/8/layout/process5"/>
    <dgm:cxn modelId="{D9C1BED4-D84B-4C22-8C96-7B2A64321D1E}" type="presOf" srcId="{47F605C1-4818-4BBD-B098-1EA2B6B70CF8}" destId="{51E09E62-8E7D-4F62-9FB8-3088258BF5FA}" srcOrd="0" destOrd="0" presId="urn:microsoft.com/office/officeart/2005/8/layout/process5"/>
    <dgm:cxn modelId="{54486ED7-2C77-40A7-94F4-BD1B8CC7FA96}" type="presOf" srcId="{5912F24A-026E-4059-9C48-0CA5245D6A94}" destId="{5E73414A-2B83-4A5D-83AF-EE81EC03651E}" srcOrd="0" destOrd="0" presId="urn:microsoft.com/office/officeart/2005/8/layout/process5"/>
    <dgm:cxn modelId="{6CEA51D9-95C5-4534-AB9D-340D594DE737}" srcId="{0C368D89-32FA-41D6-BC88-7BE3778D4556}" destId="{CFFCE88C-D71E-41DC-8C7F-FA4F2387BA17}" srcOrd="1" destOrd="0" parTransId="{44C2039E-C439-4A0A-BFF2-D266F46D7CDC}" sibTransId="{1E69B3E6-0CC5-42C2-AC12-4821FCA30E47}"/>
    <dgm:cxn modelId="{BBB0A3DB-D4DC-4237-9E37-C2F8F4FE543E}" srcId="{EE93E660-6596-4451-8019-032FC2A6B4AA}" destId="{F2B427D4-2966-4D63-8EC6-28D21FD6BC19}" srcOrd="9" destOrd="0" parTransId="{28AD1B46-4FE6-4C7A-B383-4732359620FB}" sibTransId="{FB2AE8D0-029B-4537-9DBE-D10E0E6770C5}"/>
    <dgm:cxn modelId="{B3432CDC-6736-479C-89D9-83D10A9799A5}" srcId="{EE93E660-6596-4451-8019-032FC2A6B4AA}" destId="{AF79DD7E-2E53-4018-83AF-4D5252428A79}" srcOrd="8" destOrd="0" parTransId="{8AC38483-8B7D-437E-9D7D-7F415CA67F0D}" sibTransId="{805002E7-791B-4C9A-B3B1-75AD6C4827C3}"/>
    <dgm:cxn modelId="{0EEF02DE-0409-40C0-AB01-AAABFF238919}" type="presOf" srcId="{865A329A-DD71-4AB3-9F1F-9E71A33BF789}" destId="{298E7DA6-98F0-4B1B-9599-7463E17D6107}" srcOrd="1" destOrd="0" presId="urn:microsoft.com/office/officeart/2005/8/layout/process5"/>
    <dgm:cxn modelId="{FDA5A4E1-CECB-4F9E-AF6F-F19BD5E26F29}" srcId="{C480CA6D-A394-4076-AE6F-ACB920575E4C}" destId="{3434F049-191A-4F3C-9F5A-D69C01BBF123}" srcOrd="1" destOrd="0" parTransId="{76F87BB5-EEB6-4609-8C47-99A099535E77}" sibTransId="{12B087E6-E1F0-4DAE-8A1B-777E7176720C}"/>
    <dgm:cxn modelId="{F25706E2-42FE-4FB4-8378-72879918EA72}" type="presOf" srcId="{CAE61C8C-AE5C-4371-87A3-23A3A2D97EBB}" destId="{2645286D-5270-4C10-86C5-90C0AB4B45EB}" srcOrd="1" destOrd="0" presId="urn:microsoft.com/office/officeart/2005/8/layout/process5"/>
    <dgm:cxn modelId="{AFDBA9E3-80AA-4C01-842E-113C2B9D77D0}" type="presOf" srcId="{DB7F06C7-DB5C-42E3-8E96-692B475700A9}" destId="{66C8B369-D7D0-4858-89E2-68E039A0FF1F}" srcOrd="0" destOrd="0" presId="urn:microsoft.com/office/officeart/2005/8/layout/process5"/>
    <dgm:cxn modelId="{56ABA9E9-5443-47A7-B9AB-AA1D7FBCC62F}" type="presOf" srcId="{4B91405E-3A4A-4F67-8B99-707E83B20979}" destId="{40543E84-2FA2-4182-9362-EE3097626F99}" srcOrd="1" destOrd="0" presId="urn:microsoft.com/office/officeart/2005/8/layout/process5"/>
    <dgm:cxn modelId="{0D3ECBEB-27EA-4E3C-B41D-5E120214F7BA}" srcId="{EE93E660-6596-4451-8019-032FC2A6B4AA}" destId="{9D6CA158-5046-4131-8213-D535F79FE7ED}" srcOrd="12" destOrd="0" parTransId="{42AE809C-69AE-4AE5-A196-36BBFA104854}" sibTransId="{DB7F06C7-DB5C-42E3-8E96-692B475700A9}"/>
    <dgm:cxn modelId="{389227F0-1361-49C6-B1ED-38460A0771E3}" srcId="{0C368D89-32FA-41D6-BC88-7BE3778D4556}" destId="{B4289702-23CF-4C23-8F32-48C967EFC85C}" srcOrd="2" destOrd="0" parTransId="{8BFA29E0-74A0-4DAC-A82C-F2FCB441B228}" sibTransId="{97373AA3-B24E-4666-A580-61C448E01E97}"/>
    <dgm:cxn modelId="{E30F76F1-6E4F-44CB-8A88-53D084883088}" type="presOf" srcId="{E508ABC4-B457-4A55-A7D8-260F8216D5FE}" destId="{8A608A05-32C6-4B90-A1E5-C41435EEA944}" srcOrd="0" destOrd="0" presId="urn:microsoft.com/office/officeart/2005/8/layout/process5"/>
    <dgm:cxn modelId="{C777FBF3-C95D-40D4-A5D0-530858E98780}" type="presOf" srcId="{5912F24A-026E-4059-9C48-0CA5245D6A94}" destId="{D57569F4-4D2B-4B21-B733-8193267BDB48}" srcOrd="1" destOrd="0" presId="urn:microsoft.com/office/officeart/2005/8/layout/process5"/>
    <dgm:cxn modelId="{29BB91F4-8B51-4A49-8847-219D2D5E7089}" type="presOf" srcId="{94A24CA0-F979-460D-9D08-39C964640CF2}" destId="{3C8CD57E-A0DF-4152-AE16-4F6431788678}" srcOrd="0" destOrd="1" presId="urn:microsoft.com/office/officeart/2005/8/layout/process5"/>
    <dgm:cxn modelId="{8A2E22FA-CAB6-47E3-AEA9-91024B7219EC}" type="presOf" srcId="{F2B427D4-2966-4D63-8EC6-28D21FD6BC19}" destId="{4AE53D86-2651-4C8B-9399-DBD1EDDB8482}" srcOrd="0" destOrd="0" presId="urn:microsoft.com/office/officeart/2005/8/layout/process5"/>
    <dgm:cxn modelId="{219955FB-DA37-4F35-A3F7-4BB551B1741C}" srcId="{EE93E660-6596-4451-8019-032FC2A6B4AA}" destId="{34A36A15-75C1-4CC5-8AD2-87BD21DA895C}" srcOrd="3" destOrd="0" parTransId="{DF030A83-7215-4529-B6C7-5754D4295000}" sibTransId="{865A329A-DD71-4AB3-9F1F-9E71A33BF789}"/>
    <dgm:cxn modelId="{816E15FC-DFBD-49D3-BDC0-FFAF61092F62}" type="presOf" srcId="{4E8FB186-588F-47D7-8361-3074E247D747}" destId="{1F6EAB34-93C4-4626-9CE4-71B429295087}" srcOrd="0" destOrd="0" presId="urn:microsoft.com/office/officeart/2005/8/layout/process5"/>
    <dgm:cxn modelId="{4E7CE0FD-F6AA-494C-82D0-9718024C2B4E}" type="presOf" srcId="{FB2AE8D0-029B-4537-9DBE-D10E0E6770C5}" destId="{5095593A-9226-4823-A1FB-2A5FB4614E0A}" srcOrd="1" destOrd="0" presId="urn:microsoft.com/office/officeart/2005/8/layout/process5"/>
    <dgm:cxn modelId="{9E2CF1FF-EA0D-4CD0-A308-9DA480AFF1A1}" type="presOf" srcId="{BC1B332E-0E55-4D11-8567-5BD6C6F316B6}" destId="{A48B71B6-DE3E-4F48-B1C3-FAF7AFA09863}" srcOrd="0" destOrd="0" presId="urn:microsoft.com/office/officeart/2005/8/layout/process5"/>
    <dgm:cxn modelId="{4C31017D-376E-4EBA-B59D-48C02F2CA30A}" type="presParOf" srcId="{F5292D06-983A-4F84-90FF-20380390E62C}" destId="{4E450D6C-52C1-49DD-AF4D-587CCEBF4710}" srcOrd="0" destOrd="0" presId="urn:microsoft.com/office/officeart/2005/8/layout/process5"/>
    <dgm:cxn modelId="{B89FC3F7-6ECC-47CE-898F-F78B12232325}" type="presParOf" srcId="{F5292D06-983A-4F84-90FF-20380390E62C}" destId="{A48B71B6-DE3E-4F48-B1C3-FAF7AFA09863}" srcOrd="1" destOrd="0" presId="urn:microsoft.com/office/officeart/2005/8/layout/process5"/>
    <dgm:cxn modelId="{9EA0FCD8-2513-417A-8237-3BCD4CA889DC}" type="presParOf" srcId="{A48B71B6-DE3E-4F48-B1C3-FAF7AFA09863}" destId="{FE5B2E7A-10B6-4AD7-A5B1-5D997451A4EA}" srcOrd="0" destOrd="0" presId="urn:microsoft.com/office/officeart/2005/8/layout/process5"/>
    <dgm:cxn modelId="{563C475E-FEC9-4DD4-92D2-08AD28B093AC}" type="presParOf" srcId="{F5292D06-983A-4F84-90FF-20380390E62C}" destId="{BC8661BC-6744-4BE2-8D88-AA5715937E42}" srcOrd="2" destOrd="0" presId="urn:microsoft.com/office/officeart/2005/8/layout/process5"/>
    <dgm:cxn modelId="{5C7470CE-7B92-4379-9BC7-54266F0984A2}" type="presParOf" srcId="{F5292D06-983A-4F84-90FF-20380390E62C}" destId="{5E73414A-2B83-4A5D-83AF-EE81EC03651E}" srcOrd="3" destOrd="0" presId="urn:microsoft.com/office/officeart/2005/8/layout/process5"/>
    <dgm:cxn modelId="{05862586-5552-4F11-A777-71ECC0BDE004}" type="presParOf" srcId="{5E73414A-2B83-4A5D-83AF-EE81EC03651E}" destId="{D57569F4-4D2B-4B21-B733-8193267BDB48}" srcOrd="0" destOrd="0" presId="urn:microsoft.com/office/officeart/2005/8/layout/process5"/>
    <dgm:cxn modelId="{C870D280-DD8A-494D-A16E-AE858671A04D}" type="presParOf" srcId="{F5292D06-983A-4F84-90FF-20380390E62C}" destId="{2BF366DE-E45B-4C66-AB15-4FB25080FDB4}" srcOrd="4" destOrd="0" presId="urn:microsoft.com/office/officeart/2005/8/layout/process5"/>
    <dgm:cxn modelId="{C5425FE9-7DF7-4C88-9AE8-C9923447F131}" type="presParOf" srcId="{F5292D06-983A-4F84-90FF-20380390E62C}" destId="{6069830C-9280-493F-BB1D-116184FEC536}" srcOrd="5" destOrd="0" presId="urn:microsoft.com/office/officeart/2005/8/layout/process5"/>
    <dgm:cxn modelId="{4F4DDE7E-546A-4821-85AC-9D648534A947}" type="presParOf" srcId="{6069830C-9280-493F-BB1D-116184FEC536}" destId="{6F52962D-8002-4E0A-A04F-1A28A40FEFD2}" srcOrd="0" destOrd="0" presId="urn:microsoft.com/office/officeart/2005/8/layout/process5"/>
    <dgm:cxn modelId="{B1419187-F713-49E7-8EB2-B60E401D4D5A}" type="presParOf" srcId="{F5292D06-983A-4F84-90FF-20380390E62C}" destId="{7DC0EA6C-F166-49E6-9AA1-B6E964B78F66}" srcOrd="6" destOrd="0" presId="urn:microsoft.com/office/officeart/2005/8/layout/process5"/>
    <dgm:cxn modelId="{4DC9511B-25D0-44B5-9C65-7E06D101F1F3}" type="presParOf" srcId="{F5292D06-983A-4F84-90FF-20380390E62C}" destId="{560B3AC8-71DE-428B-83B5-14C1E59CE261}" srcOrd="7" destOrd="0" presId="urn:microsoft.com/office/officeart/2005/8/layout/process5"/>
    <dgm:cxn modelId="{DE1E96A8-429D-4560-B00C-674D36AFBFBE}" type="presParOf" srcId="{560B3AC8-71DE-428B-83B5-14C1E59CE261}" destId="{298E7DA6-98F0-4B1B-9599-7463E17D6107}" srcOrd="0" destOrd="0" presId="urn:microsoft.com/office/officeart/2005/8/layout/process5"/>
    <dgm:cxn modelId="{0C91C690-8F78-4B9C-9727-F6032A036303}" type="presParOf" srcId="{F5292D06-983A-4F84-90FF-20380390E62C}" destId="{4371BBC8-B4ED-49C9-9DDA-D7E74C516B0C}" srcOrd="8" destOrd="0" presId="urn:microsoft.com/office/officeart/2005/8/layout/process5"/>
    <dgm:cxn modelId="{1CAD9A6C-3ECB-404D-862D-ABF0D9E3DE87}" type="presParOf" srcId="{F5292D06-983A-4F84-90FF-20380390E62C}" destId="{3B17141E-4039-40F8-A1A6-584C3BFD38C4}" srcOrd="9" destOrd="0" presId="urn:microsoft.com/office/officeart/2005/8/layout/process5"/>
    <dgm:cxn modelId="{9A02F0D7-5E34-4AE0-A0A9-ACEB18D2550D}" type="presParOf" srcId="{3B17141E-4039-40F8-A1A6-584C3BFD38C4}" destId="{2645286D-5270-4C10-86C5-90C0AB4B45EB}" srcOrd="0" destOrd="0" presId="urn:microsoft.com/office/officeart/2005/8/layout/process5"/>
    <dgm:cxn modelId="{B61E6BB3-A19C-4B0B-A3BE-602EAC57BE4F}" type="presParOf" srcId="{F5292D06-983A-4F84-90FF-20380390E62C}" destId="{C0070E97-FCF6-43B5-8CD5-A1292AE1123B}" srcOrd="10" destOrd="0" presId="urn:microsoft.com/office/officeart/2005/8/layout/process5"/>
    <dgm:cxn modelId="{CBA03BD0-3393-4411-8FDA-4EAFC1F82AFC}" type="presParOf" srcId="{F5292D06-983A-4F84-90FF-20380390E62C}" destId="{772DD67E-8020-4A29-88CC-1FB7D556A2F0}" srcOrd="11" destOrd="0" presId="urn:microsoft.com/office/officeart/2005/8/layout/process5"/>
    <dgm:cxn modelId="{6C7A70B2-A45E-4F7E-8C43-07B493AC71C1}" type="presParOf" srcId="{772DD67E-8020-4A29-88CC-1FB7D556A2F0}" destId="{40543E84-2FA2-4182-9362-EE3097626F99}" srcOrd="0" destOrd="0" presId="urn:microsoft.com/office/officeart/2005/8/layout/process5"/>
    <dgm:cxn modelId="{F0BDF673-59A1-44DC-9381-38B56EFC4070}" type="presParOf" srcId="{F5292D06-983A-4F84-90FF-20380390E62C}" destId="{3C8CD57E-A0DF-4152-AE16-4F6431788678}" srcOrd="12" destOrd="0" presId="urn:microsoft.com/office/officeart/2005/8/layout/process5"/>
    <dgm:cxn modelId="{22391734-E02C-4E58-AEE9-23182B5E0EF5}" type="presParOf" srcId="{F5292D06-983A-4F84-90FF-20380390E62C}" destId="{5C605094-BD4F-4AE8-A8ED-D094D4782FEF}" srcOrd="13" destOrd="0" presId="urn:microsoft.com/office/officeart/2005/8/layout/process5"/>
    <dgm:cxn modelId="{C6D1EF4C-DF4C-48F8-B614-8ABA2C099792}" type="presParOf" srcId="{5C605094-BD4F-4AE8-A8ED-D094D4782FEF}" destId="{4BC2F43E-335B-41C7-B733-9790B9FBE431}" srcOrd="0" destOrd="0" presId="urn:microsoft.com/office/officeart/2005/8/layout/process5"/>
    <dgm:cxn modelId="{77A0C823-F48A-494A-8575-05B490E14C62}" type="presParOf" srcId="{F5292D06-983A-4F84-90FF-20380390E62C}" destId="{F1F3A326-19EB-4CEC-AA44-21C77FE066E9}" srcOrd="14" destOrd="0" presId="urn:microsoft.com/office/officeart/2005/8/layout/process5"/>
    <dgm:cxn modelId="{633B3431-6D82-40A6-8072-ECAC834D9B93}" type="presParOf" srcId="{F5292D06-983A-4F84-90FF-20380390E62C}" destId="{8857C1A9-AD51-4877-82B9-99E8EB859104}" srcOrd="15" destOrd="0" presId="urn:microsoft.com/office/officeart/2005/8/layout/process5"/>
    <dgm:cxn modelId="{11E728EF-B8F6-4F8B-A4E2-DED332AEB394}" type="presParOf" srcId="{8857C1A9-AD51-4877-82B9-99E8EB859104}" destId="{0DC773DC-0E59-4C4D-A1A1-0421D27A23F5}" srcOrd="0" destOrd="0" presId="urn:microsoft.com/office/officeart/2005/8/layout/process5"/>
    <dgm:cxn modelId="{2E7CB93C-40BF-47D8-9AED-2B560B5AEAC9}" type="presParOf" srcId="{F5292D06-983A-4F84-90FF-20380390E62C}" destId="{3D497247-3D65-43F7-B4FD-17E8BA005BC5}" srcOrd="16" destOrd="0" presId="urn:microsoft.com/office/officeart/2005/8/layout/process5"/>
    <dgm:cxn modelId="{371255CD-05AF-42C0-867C-1E1183E708F9}" type="presParOf" srcId="{F5292D06-983A-4F84-90FF-20380390E62C}" destId="{C272E9A4-7DEA-4B00-B90A-66FECF2FFCE4}" srcOrd="17" destOrd="0" presId="urn:microsoft.com/office/officeart/2005/8/layout/process5"/>
    <dgm:cxn modelId="{22BC3A2C-4892-4DBB-8894-8946E6E6BB7E}" type="presParOf" srcId="{C272E9A4-7DEA-4B00-B90A-66FECF2FFCE4}" destId="{F7BE42CB-EDF0-4DC9-8EBB-406CABB48259}" srcOrd="0" destOrd="0" presId="urn:microsoft.com/office/officeart/2005/8/layout/process5"/>
    <dgm:cxn modelId="{749968FC-C928-4394-A639-18B7C52C2FA5}" type="presParOf" srcId="{F5292D06-983A-4F84-90FF-20380390E62C}" destId="{4AE53D86-2651-4C8B-9399-DBD1EDDB8482}" srcOrd="18" destOrd="0" presId="urn:microsoft.com/office/officeart/2005/8/layout/process5"/>
    <dgm:cxn modelId="{4845C2A4-0FA6-473D-B936-E335023D836E}" type="presParOf" srcId="{F5292D06-983A-4F84-90FF-20380390E62C}" destId="{0ECB37D0-A625-4DE7-9D00-B06130F26F89}" srcOrd="19" destOrd="0" presId="urn:microsoft.com/office/officeart/2005/8/layout/process5"/>
    <dgm:cxn modelId="{4275CAB5-3F65-4602-BAF9-0B1845E42B75}" type="presParOf" srcId="{0ECB37D0-A625-4DE7-9D00-B06130F26F89}" destId="{5095593A-9226-4823-A1FB-2A5FB4614E0A}" srcOrd="0" destOrd="0" presId="urn:microsoft.com/office/officeart/2005/8/layout/process5"/>
    <dgm:cxn modelId="{E3B59574-0B0B-42A7-9744-A761E37C5DAE}" type="presParOf" srcId="{F5292D06-983A-4F84-90FF-20380390E62C}" destId="{2C5FEF94-FBC9-47E5-BD32-1C64863E20D2}" srcOrd="20" destOrd="0" presId="urn:microsoft.com/office/officeart/2005/8/layout/process5"/>
    <dgm:cxn modelId="{F515A423-55CC-42C6-B812-48EBE35D931E}" type="presParOf" srcId="{F5292D06-983A-4F84-90FF-20380390E62C}" destId="{9422D398-92EC-410E-A6A5-873C48309C68}" srcOrd="21" destOrd="0" presId="urn:microsoft.com/office/officeart/2005/8/layout/process5"/>
    <dgm:cxn modelId="{A4F2F347-9A41-4A41-8C4E-8DB92E1EDA37}" type="presParOf" srcId="{9422D398-92EC-410E-A6A5-873C48309C68}" destId="{E6C2E891-46AF-4F7F-A68D-660796C8A2C8}" srcOrd="0" destOrd="0" presId="urn:microsoft.com/office/officeart/2005/8/layout/process5"/>
    <dgm:cxn modelId="{FFF05072-7DDB-425E-8A60-65614B5C1353}" type="presParOf" srcId="{F5292D06-983A-4F84-90FF-20380390E62C}" destId="{1F6EAB34-93C4-4626-9CE4-71B429295087}" srcOrd="22" destOrd="0" presId="urn:microsoft.com/office/officeart/2005/8/layout/process5"/>
    <dgm:cxn modelId="{23CB64DB-D1C0-4CBA-B7A1-750C5EEED017}" type="presParOf" srcId="{F5292D06-983A-4F84-90FF-20380390E62C}" destId="{51E09E62-8E7D-4F62-9FB8-3088258BF5FA}" srcOrd="23" destOrd="0" presId="urn:microsoft.com/office/officeart/2005/8/layout/process5"/>
    <dgm:cxn modelId="{F0613A87-67EF-4FAC-B324-02B1886460DD}" type="presParOf" srcId="{51E09E62-8E7D-4F62-9FB8-3088258BF5FA}" destId="{F11C60D5-700C-44C0-9230-382E265BD0A2}" srcOrd="0" destOrd="0" presId="urn:microsoft.com/office/officeart/2005/8/layout/process5"/>
    <dgm:cxn modelId="{24EF41EA-D9D5-410A-BE2A-BE1CA2DD34E2}" type="presParOf" srcId="{F5292D06-983A-4F84-90FF-20380390E62C}" destId="{7B3FBDD3-97EE-4CFB-819B-AFD052F6BD38}" srcOrd="24" destOrd="0" presId="urn:microsoft.com/office/officeart/2005/8/layout/process5"/>
    <dgm:cxn modelId="{CF453EFE-2F24-464A-A138-CE11283E7324}" type="presParOf" srcId="{F5292D06-983A-4F84-90FF-20380390E62C}" destId="{66C8B369-D7D0-4858-89E2-68E039A0FF1F}" srcOrd="25" destOrd="0" presId="urn:microsoft.com/office/officeart/2005/8/layout/process5"/>
    <dgm:cxn modelId="{745CC459-A880-4C53-B652-1D0E4A816FE2}" type="presParOf" srcId="{66C8B369-D7D0-4858-89E2-68E039A0FF1F}" destId="{4D47C027-4E46-42DF-964D-279749E54A4A}" srcOrd="0" destOrd="0" presId="urn:microsoft.com/office/officeart/2005/8/layout/process5"/>
    <dgm:cxn modelId="{1D7672F7-6B7F-4929-9C02-728DB5A39AC7}" type="presParOf" srcId="{F5292D06-983A-4F84-90FF-20380390E62C}" destId="{8A608A05-32C6-4B90-A1E5-C41435EEA944}" srcOrd="26"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50D6C-52C1-49DD-AF4D-587CCEBF4710}">
      <dsp:nvSpPr>
        <dsp:cNvPr id="0" name=""/>
        <dsp:cNvSpPr/>
      </dsp:nvSpPr>
      <dsp:spPr>
        <a:xfrm>
          <a:off x="5499" y="783071"/>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Start</a:t>
          </a:r>
          <a:endParaRPr lang="en-US" sz="1000" b="0" i="0" kern="1200" dirty="0">
            <a:solidFill>
              <a:schemeClr val="accent2">
                <a:lumMod val="50000"/>
              </a:schemeClr>
            </a:solidFill>
            <a:latin typeface="Avenir Next" panose="020B0503020202020204" pitchFamily="34" charset="0"/>
          </a:endParaRPr>
        </a:p>
      </dsp:txBody>
      <dsp:txXfrm>
        <a:off x="35456" y="813028"/>
        <a:ext cx="1644790" cy="962908"/>
      </dsp:txXfrm>
    </dsp:sp>
    <dsp:sp modelId="{A48B71B6-DE3E-4F48-B1C3-FAF7AFA09863}">
      <dsp:nvSpPr>
        <dsp:cNvPr id="0" name=""/>
        <dsp:cNvSpPr/>
      </dsp:nvSpPr>
      <dsp:spPr>
        <a:xfrm>
          <a:off x="1860217" y="1083099"/>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860217" y="1167652"/>
        <a:ext cx="252978" cy="253660"/>
      </dsp:txXfrm>
    </dsp:sp>
    <dsp:sp modelId="{BC8661BC-6744-4BE2-8D88-AA5715937E42}">
      <dsp:nvSpPr>
        <dsp:cNvPr id="0" name=""/>
        <dsp:cNvSpPr/>
      </dsp:nvSpPr>
      <dsp:spPr>
        <a:xfrm>
          <a:off x="2392085" y="783071"/>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Data Collection</a:t>
          </a:r>
          <a:endParaRPr lang="en-US" sz="1000" b="0" i="0" kern="1200" dirty="0">
            <a:solidFill>
              <a:schemeClr val="accent2">
                <a:lumMod val="50000"/>
              </a:schemeClr>
            </a:solidFill>
            <a:latin typeface="Avenir Next" panose="020B0503020202020204" pitchFamily="34" charset="0"/>
          </a:endParaRPr>
        </a:p>
      </dsp:txBody>
      <dsp:txXfrm>
        <a:off x="2422042" y="813028"/>
        <a:ext cx="1644790" cy="962908"/>
      </dsp:txXfrm>
    </dsp:sp>
    <dsp:sp modelId="{5E73414A-2B83-4A5D-83AF-EE81EC03651E}">
      <dsp:nvSpPr>
        <dsp:cNvPr id="0" name=""/>
        <dsp:cNvSpPr/>
      </dsp:nvSpPr>
      <dsp:spPr>
        <a:xfrm>
          <a:off x="4246803" y="1083099"/>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246803" y="1167652"/>
        <a:ext cx="252978" cy="253660"/>
      </dsp:txXfrm>
    </dsp:sp>
    <dsp:sp modelId="{2BF366DE-E45B-4C66-AB15-4FB25080FDB4}">
      <dsp:nvSpPr>
        <dsp:cNvPr id="0" name=""/>
        <dsp:cNvSpPr/>
      </dsp:nvSpPr>
      <dsp:spPr>
        <a:xfrm>
          <a:off x="4778671" y="783071"/>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Data Analysis</a:t>
          </a:r>
        </a:p>
      </dsp:txBody>
      <dsp:txXfrm>
        <a:off x="4808628" y="813028"/>
        <a:ext cx="1644790" cy="962908"/>
      </dsp:txXfrm>
    </dsp:sp>
    <dsp:sp modelId="{6069830C-9280-493F-BB1D-116184FEC536}">
      <dsp:nvSpPr>
        <dsp:cNvPr id="0" name=""/>
        <dsp:cNvSpPr/>
      </dsp:nvSpPr>
      <dsp:spPr>
        <a:xfrm>
          <a:off x="6633390" y="1083099"/>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6633390" y="1167652"/>
        <a:ext cx="252978" cy="253660"/>
      </dsp:txXfrm>
    </dsp:sp>
    <dsp:sp modelId="{7DC0EA6C-F166-49E6-9AA1-B6E964B78F66}">
      <dsp:nvSpPr>
        <dsp:cNvPr id="0" name=""/>
        <dsp:cNvSpPr/>
      </dsp:nvSpPr>
      <dsp:spPr>
        <a:xfrm>
          <a:off x="7165258" y="783071"/>
          <a:ext cx="1704704" cy="1022822"/>
        </a:xfrm>
        <a:prstGeom prst="roundRect">
          <a:avLst>
            <a:gd name="adj" fmla="val 10000"/>
          </a:avLst>
        </a:prstGeom>
        <a:solidFill>
          <a:schemeClr val="accent5">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rgbClr val="1F245C"/>
              </a:solidFill>
              <a:latin typeface="Avenir Next" panose="020B0503020202020204" pitchFamily="34" charset="0"/>
            </a:rPr>
            <a:t>Create new data variable using data pre-processing</a:t>
          </a:r>
        </a:p>
      </dsp:txBody>
      <dsp:txXfrm>
        <a:off x="7195215" y="813028"/>
        <a:ext cx="1644790" cy="962908"/>
      </dsp:txXfrm>
    </dsp:sp>
    <dsp:sp modelId="{560B3AC8-71DE-428B-83B5-14C1E59CE261}">
      <dsp:nvSpPr>
        <dsp:cNvPr id="0" name=""/>
        <dsp:cNvSpPr/>
      </dsp:nvSpPr>
      <dsp:spPr>
        <a:xfrm>
          <a:off x="9019976" y="1083099"/>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9019976" y="1167652"/>
        <a:ext cx="252978" cy="253660"/>
      </dsp:txXfrm>
    </dsp:sp>
    <dsp:sp modelId="{4371BBC8-B4ED-49C9-9DDA-D7E74C516B0C}">
      <dsp:nvSpPr>
        <dsp:cNvPr id="0" name=""/>
        <dsp:cNvSpPr/>
      </dsp:nvSpPr>
      <dsp:spPr>
        <a:xfrm>
          <a:off x="9551844" y="783071"/>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Identify if incident is related to</a:t>
          </a:r>
        </a:p>
        <a:p>
          <a:pPr marL="57150" lvl="1" indent="-57150" algn="l" defTabSz="355600">
            <a:lnSpc>
              <a:spcPct val="90000"/>
            </a:lnSpc>
            <a:spcBef>
              <a:spcPct val="0"/>
            </a:spcBef>
            <a:spcAft>
              <a:spcPct val="15000"/>
            </a:spcAft>
            <a:buChar char="•"/>
          </a:pPr>
          <a:r>
            <a:rPr lang="en-IN" sz="800" b="0" i="0" kern="1200" dirty="0">
              <a:solidFill>
                <a:schemeClr val="accent2">
                  <a:lumMod val="50000"/>
                </a:schemeClr>
              </a:solidFill>
              <a:latin typeface="Avenir Next" panose="020B0503020202020204" pitchFamily="34" charset="0"/>
            </a:rPr>
            <a:t>Change request or</a:t>
          </a:r>
        </a:p>
        <a:p>
          <a:pPr marL="57150" lvl="1" indent="-57150" algn="l" defTabSz="355600">
            <a:lnSpc>
              <a:spcPct val="90000"/>
            </a:lnSpc>
            <a:spcBef>
              <a:spcPct val="0"/>
            </a:spcBef>
            <a:spcAft>
              <a:spcPct val="15000"/>
            </a:spcAft>
            <a:buChar char="•"/>
          </a:pPr>
          <a:r>
            <a:rPr lang="en-IN" sz="800" b="0" i="0" kern="1200" dirty="0">
              <a:solidFill>
                <a:schemeClr val="accent2">
                  <a:lumMod val="50000"/>
                </a:schemeClr>
              </a:solidFill>
              <a:latin typeface="Avenir Next" panose="020B0503020202020204" pitchFamily="34" charset="0"/>
            </a:rPr>
            <a:t>Environment Change or</a:t>
          </a:r>
        </a:p>
        <a:p>
          <a:pPr marL="57150" lvl="1" indent="-57150" algn="l" defTabSz="355600">
            <a:lnSpc>
              <a:spcPct val="90000"/>
            </a:lnSpc>
            <a:spcBef>
              <a:spcPct val="0"/>
            </a:spcBef>
            <a:spcAft>
              <a:spcPct val="15000"/>
            </a:spcAft>
            <a:buChar char="•"/>
          </a:pPr>
          <a:r>
            <a:rPr lang="en-IN" sz="800" b="0" i="0" kern="1200" dirty="0">
              <a:solidFill>
                <a:schemeClr val="accent2">
                  <a:lumMod val="50000"/>
                </a:schemeClr>
              </a:solidFill>
              <a:latin typeface="Avenir Next" panose="020B0503020202020204" pitchFamily="34" charset="0"/>
            </a:rPr>
            <a:t>Other</a:t>
          </a:r>
        </a:p>
      </dsp:txBody>
      <dsp:txXfrm>
        <a:off x="9581801" y="813028"/>
        <a:ext cx="1644790" cy="962908"/>
      </dsp:txXfrm>
    </dsp:sp>
    <dsp:sp modelId="{3B17141E-4039-40F8-A1A6-584C3BFD38C4}">
      <dsp:nvSpPr>
        <dsp:cNvPr id="0" name=""/>
        <dsp:cNvSpPr/>
      </dsp:nvSpPr>
      <dsp:spPr>
        <a:xfrm rot="5400000">
          <a:off x="10223498" y="2018527"/>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10277367" y="2049212"/>
        <a:ext cx="253660" cy="252978"/>
      </dsp:txXfrm>
    </dsp:sp>
    <dsp:sp modelId="{C0070E97-FCF6-43B5-8CD5-A1292AE1123B}">
      <dsp:nvSpPr>
        <dsp:cNvPr id="0" name=""/>
        <dsp:cNvSpPr/>
      </dsp:nvSpPr>
      <dsp:spPr>
        <a:xfrm>
          <a:off x="9551844" y="2487775"/>
          <a:ext cx="1704704" cy="1022822"/>
        </a:xfrm>
        <a:prstGeom prst="roundRect">
          <a:avLst>
            <a:gd name="adj" fmla="val 10000"/>
          </a:avLst>
        </a:prstGeom>
        <a:solidFill>
          <a:schemeClr val="accent5">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IN" sz="1000" b="0" i="0" kern="1200" dirty="0">
              <a:solidFill>
                <a:srgbClr val="1F245C"/>
              </a:solidFill>
              <a:latin typeface="Avenir Next" panose="020B0503020202020204" pitchFamily="34" charset="0"/>
            </a:rPr>
            <a:t>Cluster the incidents to identify the pattern </a:t>
          </a:r>
        </a:p>
        <a:p>
          <a:pPr marL="57150" lvl="1" indent="-57150" algn="l" defTabSz="355600">
            <a:lnSpc>
              <a:spcPct val="90000"/>
            </a:lnSpc>
            <a:spcBef>
              <a:spcPct val="0"/>
            </a:spcBef>
            <a:spcAft>
              <a:spcPct val="15000"/>
            </a:spcAft>
            <a:buChar char="•"/>
          </a:pPr>
          <a:r>
            <a:rPr lang="en-IN" sz="800" b="0" i="0" kern="1200" dirty="0">
              <a:solidFill>
                <a:srgbClr val="1F245C"/>
              </a:solidFill>
              <a:latin typeface="Avenir Next" panose="020B0503020202020204" pitchFamily="34" charset="0"/>
            </a:rPr>
            <a:t>Incidents related to Change request</a:t>
          </a:r>
        </a:p>
        <a:p>
          <a:pPr marL="57150" lvl="1" indent="-57150" algn="l" defTabSz="355600">
            <a:lnSpc>
              <a:spcPct val="90000"/>
            </a:lnSpc>
            <a:spcBef>
              <a:spcPct val="0"/>
            </a:spcBef>
            <a:spcAft>
              <a:spcPct val="15000"/>
            </a:spcAft>
            <a:buChar char="•"/>
          </a:pPr>
          <a:r>
            <a:rPr lang="en-IN" sz="800" b="0" i="0" kern="1200" dirty="0">
              <a:solidFill>
                <a:srgbClr val="1F245C"/>
              </a:solidFill>
              <a:latin typeface="Avenir Next" panose="020B0503020202020204" pitchFamily="34" charset="0"/>
            </a:rPr>
            <a:t>Incidents related to Environment  change</a:t>
          </a:r>
        </a:p>
      </dsp:txBody>
      <dsp:txXfrm>
        <a:off x="9581801" y="2517732"/>
        <a:ext cx="1644790" cy="962908"/>
      </dsp:txXfrm>
    </dsp:sp>
    <dsp:sp modelId="{772DD67E-8020-4A29-88CC-1FB7D556A2F0}">
      <dsp:nvSpPr>
        <dsp:cNvPr id="0" name=""/>
        <dsp:cNvSpPr/>
      </dsp:nvSpPr>
      <dsp:spPr>
        <a:xfrm rot="10800000">
          <a:off x="9040433" y="2787803"/>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9148852" y="2872356"/>
        <a:ext cx="252978" cy="253660"/>
      </dsp:txXfrm>
    </dsp:sp>
    <dsp:sp modelId="{3C8CD57E-A0DF-4152-AE16-4F6431788678}">
      <dsp:nvSpPr>
        <dsp:cNvPr id="0" name=""/>
        <dsp:cNvSpPr/>
      </dsp:nvSpPr>
      <dsp:spPr>
        <a:xfrm>
          <a:off x="7165258" y="2487775"/>
          <a:ext cx="1704704" cy="1022822"/>
        </a:xfrm>
        <a:prstGeom prst="roundRect">
          <a:avLst>
            <a:gd name="adj" fmla="val 10000"/>
          </a:avLst>
        </a:prstGeom>
        <a:solidFill>
          <a:schemeClr val="accent5">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IN" sz="1000" b="0" i="0" kern="1200" dirty="0">
              <a:solidFill>
                <a:srgbClr val="1F245C"/>
              </a:solidFill>
              <a:latin typeface="Avenir Next" panose="020B0503020202020204" pitchFamily="34" charset="0"/>
            </a:rPr>
            <a:t>Model training &amp; evaluation for predication of incidents categories </a:t>
          </a:r>
        </a:p>
        <a:p>
          <a:pPr marL="57150" lvl="1" indent="-57150" algn="l" defTabSz="355600">
            <a:lnSpc>
              <a:spcPct val="90000"/>
            </a:lnSpc>
            <a:spcBef>
              <a:spcPct val="0"/>
            </a:spcBef>
            <a:spcAft>
              <a:spcPct val="15000"/>
            </a:spcAft>
            <a:buChar char="•"/>
          </a:pPr>
          <a:r>
            <a:rPr lang="en-IN" sz="800" b="0" i="0" kern="1200" dirty="0">
              <a:solidFill>
                <a:srgbClr val="1F245C"/>
              </a:solidFill>
              <a:latin typeface="Avenir Next" panose="020B0503020202020204" pitchFamily="34" charset="0"/>
            </a:rPr>
            <a:t>on Change Request</a:t>
          </a:r>
        </a:p>
        <a:p>
          <a:pPr marL="57150" lvl="1" indent="-57150" algn="l" defTabSz="355600">
            <a:lnSpc>
              <a:spcPct val="90000"/>
            </a:lnSpc>
            <a:spcBef>
              <a:spcPct val="0"/>
            </a:spcBef>
            <a:spcAft>
              <a:spcPct val="15000"/>
            </a:spcAft>
            <a:buChar char="•"/>
          </a:pPr>
          <a:r>
            <a:rPr lang="en-IN" sz="800" b="0" i="0" kern="1200" dirty="0">
              <a:solidFill>
                <a:srgbClr val="1F245C"/>
              </a:solidFill>
              <a:latin typeface="Avenir Next" panose="020B0503020202020204" pitchFamily="34" charset="0"/>
            </a:rPr>
            <a:t>on Environment Change</a:t>
          </a:r>
        </a:p>
      </dsp:txBody>
      <dsp:txXfrm>
        <a:off x="7195215" y="2517732"/>
        <a:ext cx="1644790" cy="962908"/>
      </dsp:txXfrm>
    </dsp:sp>
    <dsp:sp modelId="{5C605094-BD4F-4AE8-A8ED-D094D4782FEF}">
      <dsp:nvSpPr>
        <dsp:cNvPr id="0" name=""/>
        <dsp:cNvSpPr/>
      </dsp:nvSpPr>
      <dsp:spPr>
        <a:xfrm rot="10800000">
          <a:off x="6653846" y="2787803"/>
          <a:ext cx="361397" cy="422766"/>
        </a:xfrm>
        <a:prstGeom prst="rightArrow">
          <a:avLst>
            <a:gd name="adj1" fmla="val 60000"/>
            <a:gd name="adj2" fmla="val 50000"/>
          </a:avLst>
        </a:prstGeom>
        <a:solidFill>
          <a:srgbClr val="178B5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6762265" y="2872356"/>
        <a:ext cx="252978" cy="253660"/>
      </dsp:txXfrm>
    </dsp:sp>
    <dsp:sp modelId="{F1F3A326-19EB-4CEC-AA44-21C77FE066E9}">
      <dsp:nvSpPr>
        <dsp:cNvPr id="0" name=""/>
        <dsp:cNvSpPr/>
      </dsp:nvSpPr>
      <dsp:spPr>
        <a:xfrm>
          <a:off x="4778671" y="2487775"/>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Predication of other incidents using NLP techniques </a:t>
          </a:r>
        </a:p>
      </dsp:txBody>
      <dsp:txXfrm>
        <a:off x="4808628" y="2517732"/>
        <a:ext cx="1644790" cy="962908"/>
      </dsp:txXfrm>
    </dsp:sp>
    <dsp:sp modelId="{8857C1A9-AD51-4877-82B9-99E8EB859104}">
      <dsp:nvSpPr>
        <dsp:cNvPr id="0" name=""/>
        <dsp:cNvSpPr/>
      </dsp:nvSpPr>
      <dsp:spPr>
        <a:xfrm rot="10800000">
          <a:off x="4267260" y="2787803"/>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rot="10800000">
        <a:off x="4375679" y="2872356"/>
        <a:ext cx="252978" cy="253660"/>
      </dsp:txXfrm>
    </dsp:sp>
    <dsp:sp modelId="{3D497247-3D65-43F7-B4FD-17E8BA005BC5}">
      <dsp:nvSpPr>
        <dsp:cNvPr id="0" name=""/>
        <dsp:cNvSpPr/>
      </dsp:nvSpPr>
      <dsp:spPr>
        <a:xfrm>
          <a:off x="2392085" y="2487775"/>
          <a:ext cx="1704704" cy="1022822"/>
        </a:xfrm>
        <a:prstGeom prst="roundRect">
          <a:avLst>
            <a:gd name="adj" fmla="val 10000"/>
          </a:avLst>
        </a:prstGeom>
        <a:solidFill>
          <a:schemeClr val="accent5">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rgbClr val="1F245C"/>
              </a:solidFill>
              <a:latin typeface="Avenir Next" panose="020B0503020202020204" pitchFamily="34" charset="0"/>
            </a:rPr>
            <a:t>Prediction of resolution time </a:t>
          </a:r>
        </a:p>
      </dsp:txBody>
      <dsp:txXfrm>
        <a:off x="2422042" y="2517732"/>
        <a:ext cx="1644790" cy="962908"/>
      </dsp:txXfrm>
    </dsp:sp>
    <dsp:sp modelId="{C272E9A4-7DEA-4B00-B90A-66FECF2FFCE4}">
      <dsp:nvSpPr>
        <dsp:cNvPr id="0" name=""/>
        <dsp:cNvSpPr/>
      </dsp:nvSpPr>
      <dsp:spPr>
        <a:xfrm rot="10800000">
          <a:off x="1880674" y="2787803"/>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rot="10800000">
        <a:off x="1989093" y="2872356"/>
        <a:ext cx="252978" cy="253660"/>
      </dsp:txXfrm>
    </dsp:sp>
    <dsp:sp modelId="{4AE53D86-2651-4C8B-9399-DBD1EDDB8482}">
      <dsp:nvSpPr>
        <dsp:cNvPr id="0" name=""/>
        <dsp:cNvSpPr/>
      </dsp:nvSpPr>
      <dsp:spPr>
        <a:xfrm>
          <a:off x="5499" y="2487775"/>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i="0" kern="1200" dirty="0">
              <a:solidFill>
                <a:schemeClr val="accent2">
                  <a:lumMod val="50000"/>
                </a:schemeClr>
              </a:solidFill>
              <a:latin typeface="Avenir Next" panose="020B0503020202020204" pitchFamily="34" charset="0"/>
            </a:rPr>
            <a:t>Predicting possibility of a change failure</a:t>
          </a:r>
        </a:p>
      </dsp:txBody>
      <dsp:txXfrm>
        <a:off x="35456" y="2517732"/>
        <a:ext cx="1644790" cy="962908"/>
      </dsp:txXfrm>
    </dsp:sp>
    <dsp:sp modelId="{0ECB37D0-A625-4DE7-9D00-B06130F26F89}">
      <dsp:nvSpPr>
        <dsp:cNvPr id="0" name=""/>
        <dsp:cNvSpPr/>
      </dsp:nvSpPr>
      <dsp:spPr>
        <a:xfrm rot="5400000">
          <a:off x="677152" y="3760554"/>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rot="-5400000">
        <a:off x="731021" y="3791239"/>
        <a:ext cx="253660" cy="252978"/>
      </dsp:txXfrm>
    </dsp:sp>
    <dsp:sp modelId="{2C5FEF94-FBC9-47E5-BD32-1C64863E20D2}">
      <dsp:nvSpPr>
        <dsp:cNvPr id="0" name=""/>
        <dsp:cNvSpPr/>
      </dsp:nvSpPr>
      <dsp:spPr>
        <a:xfrm>
          <a:off x="5499" y="4192480"/>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Predict the components related new change</a:t>
          </a:r>
        </a:p>
      </dsp:txBody>
      <dsp:txXfrm>
        <a:off x="35456" y="4222437"/>
        <a:ext cx="1644790" cy="962908"/>
      </dsp:txXfrm>
    </dsp:sp>
    <dsp:sp modelId="{9422D398-92EC-410E-A6A5-873C48309C68}">
      <dsp:nvSpPr>
        <dsp:cNvPr id="0" name=""/>
        <dsp:cNvSpPr/>
      </dsp:nvSpPr>
      <dsp:spPr>
        <a:xfrm>
          <a:off x="1860217" y="4492508"/>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a:off x="1860217" y="4577061"/>
        <a:ext cx="252978" cy="253660"/>
      </dsp:txXfrm>
    </dsp:sp>
    <dsp:sp modelId="{1F6EAB34-93C4-4626-9CE4-71B429295087}">
      <dsp:nvSpPr>
        <dsp:cNvPr id="0" name=""/>
        <dsp:cNvSpPr/>
      </dsp:nvSpPr>
      <dsp:spPr>
        <a:xfrm>
          <a:off x="2392085" y="4192480"/>
          <a:ext cx="1704704" cy="1022822"/>
        </a:xfrm>
        <a:prstGeom prst="roundRect">
          <a:avLst>
            <a:gd name="adj" fmla="val 10000"/>
          </a:avLst>
        </a:prstGeom>
        <a:solidFill>
          <a:schemeClr val="accent5">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i="0" kern="1200" dirty="0">
              <a:solidFill>
                <a:srgbClr val="1F245C"/>
              </a:solidFill>
              <a:latin typeface="Avenir Next" panose="020B0503020202020204" pitchFamily="34" charset="0"/>
            </a:rPr>
            <a:t>Predicting possible incident on a new deployment</a:t>
          </a:r>
          <a:endParaRPr lang="en-IN" sz="1000" b="0" i="0" kern="1200" dirty="0">
            <a:solidFill>
              <a:srgbClr val="1F245C"/>
            </a:solidFill>
            <a:latin typeface="Avenir Next" panose="020B0503020202020204" pitchFamily="34" charset="0"/>
          </a:endParaRPr>
        </a:p>
      </dsp:txBody>
      <dsp:txXfrm>
        <a:off x="2422042" y="4222437"/>
        <a:ext cx="1644790" cy="962908"/>
      </dsp:txXfrm>
    </dsp:sp>
    <dsp:sp modelId="{51E09E62-8E7D-4F62-9FB8-3088258BF5FA}">
      <dsp:nvSpPr>
        <dsp:cNvPr id="0" name=""/>
        <dsp:cNvSpPr/>
      </dsp:nvSpPr>
      <dsp:spPr>
        <a:xfrm>
          <a:off x="4246803" y="4492508"/>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a:off x="4246803" y="4577061"/>
        <a:ext cx="252978" cy="253660"/>
      </dsp:txXfrm>
    </dsp:sp>
    <dsp:sp modelId="{7B3FBDD3-97EE-4CFB-819B-AFD052F6BD38}">
      <dsp:nvSpPr>
        <dsp:cNvPr id="0" name=""/>
        <dsp:cNvSpPr/>
      </dsp:nvSpPr>
      <dsp:spPr>
        <a:xfrm>
          <a:off x="4778671" y="4192480"/>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Root Cause Analysis</a:t>
          </a:r>
        </a:p>
      </dsp:txBody>
      <dsp:txXfrm>
        <a:off x="4808628" y="4222437"/>
        <a:ext cx="1644790" cy="962908"/>
      </dsp:txXfrm>
    </dsp:sp>
    <dsp:sp modelId="{66C8B369-D7D0-4858-89E2-68E039A0FF1F}">
      <dsp:nvSpPr>
        <dsp:cNvPr id="0" name=""/>
        <dsp:cNvSpPr/>
      </dsp:nvSpPr>
      <dsp:spPr>
        <a:xfrm>
          <a:off x="6633390" y="4492508"/>
          <a:ext cx="361397" cy="422766"/>
        </a:xfrm>
        <a:prstGeom prst="rightArrow">
          <a:avLst>
            <a:gd name="adj1" fmla="val 60000"/>
            <a:gd name="adj2" fmla="val 50000"/>
          </a:avLst>
        </a:prstGeom>
        <a:solidFill>
          <a:schemeClr val="bg1">
            <a:lumMod val="6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chemeClr val="accent1">
                <a:lumMod val="50000"/>
              </a:schemeClr>
            </a:solidFill>
          </a:endParaRPr>
        </a:p>
      </dsp:txBody>
      <dsp:txXfrm>
        <a:off x="6633390" y="4577061"/>
        <a:ext cx="252978" cy="253660"/>
      </dsp:txXfrm>
    </dsp:sp>
    <dsp:sp modelId="{8A608A05-32C6-4B90-A1E5-C41435EEA944}">
      <dsp:nvSpPr>
        <dsp:cNvPr id="0" name=""/>
        <dsp:cNvSpPr/>
      </dsp:nvSpPr>
      <dsp:spPr>
        <a:xfrm>
          <a:off x="7165258" y="4192480"/>
          <a:ext cx="1704704" cy="1022822"/>
        </a:xfrm>
        <a:prstGeom prst="roundRect">
          <a:avLst>
            <a:gd name="adj" fmla="val 10000"/>
          </a:avLst>
        </a:prstGeom>
        <a:solidFill>
          <a:schemeClr val="accent2">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0" i="0" kern="1200" dirty="0">
              <a:solidFill>
                <a:schemeClr val="accent2">
                  <a:lumMod val="50000"/>
                </a:schemeClr>
              </a:solidFill>
              <a:latin typeface="Avenir Next" panose="020B0503020202020204" pitchFamily="34" charset="0"/>
            </a:rPr>
            <a:t>Documentation</a:t>
          </a:r>
        </a:p>
      </dsp:txBody>
      <dsp:txXfrm>
        <a:off x="7195215" y="4222437"/>
        <a:ext cx="1644790" cy="962908"/>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A971E0-A2B5-436B-B8E1-AC383E105D5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92623EA1-D535-4A59-9EF6-E17DC9841CA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1DE2D1-BEB5-4CC0-8A4F-6EAB290EF71C}" type="datetimeFigureOut">
              <a:rPr lang="en-IN" smtClean="0"/>
              <a:t>19-08-2022</a:t>
            </a:fld>
            <a:endParaRPr lang="en-IN"/>
          </a:p>
        </p:txBody>
      </p:sp>
      <p:sp>
        <p:nvSpPr>
          <p:cNvPr id="4" name="Footer Placeholder 3">
            <a:extLst>
              <a:ext uri="{FF2B5EF4-FFF2-40B4-BE49-F238E27FC236}">
                <a16:creationId xmlns:a16="http://schemas.microsoft.com/office/drawing/2014/main" id="{AD6F6AB5-3F0D-488B-968F-5D24C77F45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73D66A5F-BC38-4563-BC3A-38D8EED9D84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996C83-B8C2-45D4-99C5-632658B9468E}" type="slidenum">
              <a:rPr lang="en-IN" smtClean="0"/>
              <a:t>‹#›</a:t>
            </a:fld>
            <a:endParaRPr lang="en-IN"/>
          </a:p>
        </p:txBody>
      </p:sp>
    </p:spTree>
    <p:extLst>
      <p:ext uri="{BB962C8B-B14F-4D97-AF65-F5344CB8AC3E}">
        <p14:creationId xmlns:p14="http://schemas.microsoft.com/office/powerpoint/2010/main" val="30149690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AA6291-A044-425B-8EDF-3478B3A33C58}" type="datetimeFigureOut">
              <a:rPr lang="en-IN" smtClean="0"/>
              <a:t>19-08-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B3F105-6844-4A0C-ACC7-A31FCE9D02A5}" type="slidenum">
              <a:rPr lang="en-IN" smtClean="0"/>
              <a:t>‹#›</a:t>
            </a:fld>
            <a:endParaRPr lang="en-IN"/>
          </a:p>
        </p:txBody>
      </p:sp>
    </p:spTree>
    <p:extLst>
      <p:ext uri="{BB962C8B-B14F-4D97-AF65-F5344CB8AC3E}">
        <p14:creationId xmlns:p14="http://schemas.microsoft.com/office/powerpoint/2010/main" val="378104867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3589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en a new ticket related to change request is identified, then next task is to predict its incident type.</a:t>
            </a:r>
          </a:p>
          <a:p>
            <a:pPr marL="171450" indent="-171450">
              <a:buFont typeface="Arial" panose="020B0604020202020204" pitchFamily="34" charset="0"/>
              <a:buChar char="•"/>
            </a:pPr>
            <a:r>
              <a:rPr lang="en-US" dirty="0"/>
              <a:t>For this purpose, we will use machine learning model,  which is trained on historical data.</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or selecting the best classification model , we examined different algorithms :</a:t>
            </a: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LinearSVC</a:t>
            </a:r>
            <a:r>
              <a:rPr lang="en-US" b="0" dirty="0">
                <a:solidFill>
                  <a:srgbClr val="4EC9B0"/>
                </a:solidFill>
                <a:effectLst/>
                <a:latin typeface="Consolas" panose="020B0609020204030204" pitchFamily="49" charset="0"/>
              </a:rPr>
              <a:t> Classifier</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DecisionTreeClassifier</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RandomForestClassifier</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KNeighborsClassifier</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MultinomialNB</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ll these models are trained and tested for 5-fold cross validation. There mean accuracy is used for selecting the best model.</a:t>
            </a:r>
          </a:p>
          <a:p>
            <a:pPr marL="171450" indent="-171450">
              <a:buFont typeface="Arial" panose="020B0604020202020204" pitchFamily="34" charset="0"/>
              <a:buChar char="•"/>
            </a:pPr>
            <a:r>
              <a:rPr lang="en-US" dirty="0"/>
              <a:t>From the statics shown in ppt, </a:t>
            </a:r>
            <a:r>
              <a:rPr lang="en-US" dirty="0" err="1"/>
              <a:t>LinearSVC</a:t>
            </a:r>
            <a:r>
              <a:rPr lang="en-US" dirty="0"/>
              <a:t> is having good Mean Accuracy , so we selected </a:t>
            </a:r>
            <a:r>
              <a:rPr lang="en-US" dirty="0" err="1"/>
              <a:t>LinearSVC</a:t>
            </a:r>
            <a:r>
              <a:rPr lang="en-US" dirty="0"/>
              <a:t> model for predicting the incidents related to change reques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or a trained model, when used for prediction, description of ticket &amp; its impact will be input and any one of the following classes will be output.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IN" sz="1200" dirty="0">
                <a:latin typeface="Avenir Next" panose="020B0503020202020204" pitchFamily="34" charset="0"/>
              </a:rPr>
              <a:t>1. Cloud Maintenance Incident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IN" sz="1200" dirty="0">
                <a:latin typeface="Avenir Next" panose="020B0503020202020204" pitchFamily="34" charset="0"/>
              </a:rPr>
              <a:t>2. Network Incident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IN" sz="1200" dirty="0">
                <a:latin typeface="Avenir Next" panose="020B0503020202020204" pitchFamily="34" charset="0"/>
              </a:rPr>
              <a:t>3. Capacity Incident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IN" sz="1200" dirty="0">
                <a:latin typeface="Avenir Next" panose="020B0503020202020204" pitchFamily="34" charset="0"/>
              </a:rPr>
              <a:t>4. User Service Request Incid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dirty="0">
              <a:latin typeface="Avenir Next" panose="020B0503020202020204" pitchFamily="34" charset="0"/>
            </a:endParaRPr>
          </a:p>
          <a:p>
            <a:endParaRPr lang="en-US" dirty="0"/>
          </a:p>
          <a:p>
            <a:endParaRPr lang="en-US" dirty="0"/>
          </a:p>
        </p:txBody>
      </p:sp>
    </p:spTree>
    <p:extLst>
      <p:ext uri="{BB962C8B-B14F-4D97-AF65-F5344CB8AC3E}">
        <p14:creationId xmlns:p14="http://schemas.microsoft.com/office/powerpoint/2010/main" val="75131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tep is used to identify , if the record is related to a environmental change or not.</a:t>
            </a:r>
          </a:p>
          <a:p>
            <a:pPr marL="171450" indent="-171450">
              <a:buFont typeface="Arial" panose="020B0604020202020204" pitchFamily="34" charset="0"/>
              <a:buChar char="•"/>
            </a:pPr>
            <a:r>
              <a:rPr lang="en-US" dirty="0"/>
              <a:t>This step is required to find its incident type</a:t>
            </a:r>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b="1" dirty="0"/>
          </a:p>
          <a:p>
            <a:pPr marL="171450" indent="-171450">
              <a:buFont typeface="Arial" panose="020B0604020202020204" pitchFamily="34" charset="0"/>
              <a:buChar char="•"/>
            </a:pPr>
            <a:r>
              <a:rPr lang="en-US" dirty="0"/>
              <a:t>A set of keywords (related to environmental change)  is created.</a:t>
            </a:r>
          </a:p>
          <a:p>
            <a:pPr marL="171450" indent="-171450">
              <a:buFont typeface="Arial" panose="020B0604020202020204" pitchFamily="34" charset="0"/>
              <a:buChar char="•"/>
            </a:pPr>
            <a:r>
              <a:rPr lang="en-US" dirty="0"/>
              <a:t>A record having these keywords is considered as it is related to change request.</a:t>
            </a:r>
          </a:p>
          <a:p>
            <a:endParaRPr lang="en-US" dirty="0"/>
          </a:p>
          <a:p>
            <a:r>
              <a:rPr lang="en-US" dirty="0"/>
              <a:t> </a:t>
            </a:r>
          </a:p>
        </p:txBody>
      </p:sp>
    </p:spTree>
    <p:extLst>
      <p:ext uri="{BB962C8B-B14F-4D97-AF65-F5344CB8AC3E}">
        <p14:creationId xmlns:p14="http://schemas.microsoft.com/office/powerpoint/2010/main" val="222729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ll the environmental change related records need to grouped in different categories. This is required for identifying the incident types</a:t>
            </a:r>
          </a:p>
          <a:p>
            <a:pPr marL="171450" indent="-171450">
              <a:buFont typeface="Arial" panose="020B0604020202020204" pitchFamily="34" charset="0"/>
              <a:buChar char="•"/>
            </a:pPr>
            <a:r>
              <a:rPr lang="en-US" dirty="0"/>
              <a:t>But these categories are not present data set, hence  we used unsupervised learning methods</a:t>
            </a:r>
          </a:p>
          <a:p>
            <a:endParaRPr lang="en-US" dirty="0"/>
          </a:p>
          <a:p>
            <a:pPr marL="171450" indent="-171450">
              <a:buFont typeface="Arial" panose="020B0604020202020204" pitchFamily="34" charset="0"/>
              <a:buChar char="•"/>
            </a:pPr>
            <a:r>
              <a:rPr lang="en-US" dirty="0"/>
              <a:t>Elbow graph method is used find how many numbers of groups present in data</a:t>
            </a:r>
          </a:p>
          <a:p>
            <a:pPr marL="171450" indent="-171450">
              <a:buFont typeface="Arial" panose="020B0604020202020204" pitchFamily="34" charset="0"/>
              <a:buChar char="•"/>
            </a:pPr>
            <a:r>
              <a:rPr lang="en-US" dirty="0" err="1"/>
              <a:t>Kmens</a:t>
            </a:r>
            <a:r>
              <a:rPr lang="en-US" dirty="0"/>
              <a:t> clustering to create the cluster/ groups of similar records </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ased on contents of each groups , they are given with following nam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Capacity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DB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DBA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SQL Maintenance Incid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200" dirty="0">
              <a:latin typeface="Avenir Next" panose="020B0503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200" dirty="0">
              <a:latin typeface="Avenir Next" panose="020B0503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19960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From previous analysis, we have identified that an environmental change related record can be further classified into any one of 4 incident types.</a:t>
            </a:r>
          </a:p>
          <a:p>
            <a:pPr marL="171450" indent="-171450">
              <a:buFont typeface="Arial" panose="020B0604020202020204" pitchFamily="34" charset="0"/>
              <a:buChar char="•"/>
            </a:pPr>
            <a:r>
              <a:rPr lang="en-US" dirty="0"/>
              <a:t>For this purpose , we used machine learning model trained on previous records.</a:t>
            </a:r>
          </a:p>
          <a:p>
            <a:endParaRPr lang="en-US" dirty="0"/>
          </a:p>
          <a:p>
            <a:endParaRPr lang="en-US" dirty="0"/>
          </a:p>
          <a:p>
            <a:pPr marL="171450" indent="-171450">
              <a:buFont typeface="Arial" panose="020B0604020202020204" pitchFamily="34" charset="0"/>
              <a:buChar char="•"/>
            </a:pPr>
            <a:r>
              <a:rPr lang="en-US" dirty="0"/>
              <a:t>For selecting the best classification model , we examined different algorithm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4EC9B0"/>
                </a:solidFill>
                <a:effectLst/>
                <a:latin typeface="Consolas" panose="020B0609020204030204" pitchFamily="49" charset="0"/>
              </a:rPr>
              <a:t>DecisionTreeClassifier</a:t>
            </a:r>
            <a:endParaRPr lang="en-US" b="0" dirty="0">
              <a:solidFill>
                <a:srgbClr val="D4D4D4"/>
              </a:solidFill>
              <a:effectLst/>
              <a:latin typeface="Consolas" panose="020B0609020204030204" pitchFamily="49"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4EC9B0"/>
                </a:solidFill>
                <a:effectLst/>
                <a:latin typeface="Consolas" panose="020B0609020204030204" pitchFamily="49" charset="0"/>
              </a:rPr>
              <a:t>KNeighborsClassifier</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628650" lvl="1" indent="-171450">
              <a:buFont typeface="Arial" panose="020B0604020202020204" pitchFamily="34" charset="0"/>
              <a:buChar char="•"/>
            </a:pPr>
            <a:r>
              <a:rPr lang="en-US" b="0" dirty="0" err="1">
                <a:solidFill>
                  <a:srgbClr val="4EC9B0"/>
                </a:solidFill>
                <a:effectLst/>
                <a:latin typeface="Consolas" panose="020B0609020204030204" pitchFamily="49" charset="0"/>
              </a:rPr>
              <a:t>LinearSVC</a:t>
            </a:r>
            <a:r>
              <a:rPr lang="en-US" b="0" dirty="0">
                <a:solidFill>
                  <a:srgbClr val="4EC9B0"/>
                </a:solidFill>
                <a:effectLst/>
                <a:latin typeface="Consolas" panose="020B0609020204030204" pitchFamily="49" charset="0"/>
              </a:rPr>
              <a:t> Classifier</a:t>
            </a:r>
            <a:endParaRPr lang="en-US" b="0" dirty="0">
              <a:solidFill>
                <a:srgbClr val="D4D4D4"/>
              </a:solidFill>
              <a:effectLst/>
              <a:latin typeface="Consolas" panose="020B0609020204030204" pitchFamily="49" charset="0"/>
            </a:endParaRPr>
          </a:p>
          <a:p>
            <a:pPr marL="628650" lvl="1" indent="-171450">
              <a:buFont typeface="Arial" panose="020B0604020202020204" pitchFamily="34" charset="0"/>
              <a:buChar char="•"/>
            </a:pPr>
            <a:r>
              <a:rPr lang="en-US" b="0" dirty="0" err="1">
                <a:solidFill>
                  <a:srgbClr val="4EC9B0"/>
                </a:solidFill>
                <a:effectLst/>
                <a:latin typeface="Consolas" panose="020B0609020204030204" pitchFamily="49" charset="0"/>
              </a:rPr>
              <a:t>MultinomialNB</a:t>
            </a:r>
            <a:endParaRPr lang="en-US" b="0" dirty="0">
              <a:solidFill>
                <a:srgbClr val="4EC9B0"/>
              </a:solidFill>
              <a:effectLst/>
              <a:latin typeface="Consolas" panose="020B0609020204030204" pitchFamily="49"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4EC9B0"/>
                </a:solidFill>
                <a:effectLst/>
                <a:latin typeface="Consolas" panose="020B0609020204030204" pitchFamily="49" charset="0"/>
              </a:rPr>
              <a:t>RandomForestClassifier</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dirty="0"/>
              <a:t>All these models are trained and tested for 5-fold cross validation. There mean accuracy is used for selecting the best model.</a:t>
            </a:r>
          </a:p>
          <a:p>
            <a:pPr marL="171450" indent="-171450">
              <a:buFont typeface="Arial" panose="020B0604020202020204" pitchFamily="34" charset="0"/>
              <a:buChar char="•"/>
            </a:pPr>
            <a:r>
              <a:rPr lang="en-US" dirty="0"/>
              <a:t>From the statics shown in ppt, </a:t>
            </a:r>
            <a:r>
              <a:rPr lang="en-US" b="0" dirty="0" err="1">
                <a:solidFill>
                  <a:srgbClr val="4EC9B0"/>
                </a:solidFill>
                <a:effectLst/>
                <a:latin typeface="Consolas" panose="020B0609020204030204" pitchFamily="49" charset="0"/>
              </a:rPr>
              <a:t>DecisionTreeClassifier</a:t>
            </a:r>
            <a:r>
              <a:rPr lang="en-US" dirty="0"/>
              <a:t> is having good Mean Accuracy , so we selected </a:t>
            </a:r>
            <a:r>
              <a:rPr lang="en-US" b="0" dirty="0" err="1">
                <a:solidFill>
                  <a:srgbClr val="4EC9B0"/>
                </a:solidFill>
                <a:effectLst/>
                <a:latin typeface="Consolas" panose="020B0609020204030204" pitchFamily="49" charset="0"/>
              </a:rPr>
              <a:t>DecisionTreeClassifier</a:t>
            </a:r>
            <a:r>
              <a:rPr lang="en-US" dirty="0"/>
              <a:t> model for predicting the incidents related to Environment chang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or a trained model, when used for prediction, description of ticket will be input and any one of the following classes will be outpu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Capacity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DB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DBA Incid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SQL Maintenance Incident</a:t>
            </a:r>
          </a:p>
          <a:p>
            <a:pPr marL="171450" indent="-171450">
              <a:buFont typeface="Arial" panose="020B0604020202020204" pitchFamily="34" charset="0"/>
              <a:buChar char="•"/>
            </a:pPr>
            <a:endParaRPr lang="en-US" b="0" dirty="0">
              <a:solidFill>
                <a:srgbClr val="D4D4D4"/>
              </a:solidFill>
              <a:effectLst/>
              <a:latin typeface="Consolas" panose="020B0609020204030204" pitchFamily="49" charset="0"/>
            </a:endParaRPr>
          </a:p>
          <a:p>
            <a:endParaRPr lang="en-US" dirty="0"/>
          </a:p>
        </p:txBody>
      </p:sp>
    </p:spTree>
    <p:extLst>
      <p:ext uri="{BB962C8B-B14F-4D97-AF65-F5344CB8AC3E}">
        <p14:creationId xmlns:p14="http://schemas.microsoft.com/office/powerpoint/2010/main" val="855221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nalysis , We have used 28,000 records , which are classified into different incident types by the models. </a:t>
            </a:r>
          </a:p>
        </p:txBody>
      </p:sp>
    </p:spTree>
    <p:extLst>
      <p:ext uri="{BB962C8B-B14F-4D97-AF65-F5344CB8AC3E}">
        <p14:creationId xmlns:p14="http://schemas.microsoft.com/office/powerpoint/2010/main" val="3831004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nce we have noticed that the new record is related to environmental change, the predict its incident type using the model , then predict the which services , applications will be impacte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hen you raise for a change request , then predict what probable incidents that can occur, what can be possible failur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e calculated average resolution time for all incidents. But in all incidents in one category can not have same resolution time , some will have more time, some will have less, So we are now working finding the relationship between the expected resolution time, its incident type &amp; description.</a:t>
            </a:r>
          </a:p>
        </p:txBody>
      </p:sp>
    </p:spTree>
    <p:extLst>
      <p:ext uri="{BB962C8B-B14F-4D97-AF65-F5344CB8AC3E}">
        <p14:creationId xmlns:p14="http://schemas.microsoft.com/office/powerpoint/2010/main" val="5419371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F94BC7-A3C7-4A13-9752-ED9C107D9EA2}" type="slidenum">
              <a:rPr lang="en-US" smtClean="0"/>
              <a:t>16</a:t>
            </a:fld>
            <a:endParaRPr lang="en-US"/>
          </a:p>
        </p:txBody>
      </p:sp>
    </p:spTree>
    <p:extLst>
      <p:ext uri="{BB962C8B-B14F-4D97-AF65-F5344CB8AC3E}">
        <p14:creationId xmlns:p14="http://schemas.microsoft.com/office/powerpoint/2010/main" val="3461387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Challenges : </a:t>
            </a:r>
          </a:p>
          <a:p>
            <a:pPr marL="228600" indent="-228600">
              <a:buAutoNum type="arabicPeriod"/>
            </a:pPr>
            <a:r>
              <a:rPr lang="en-US" dirty="0"/>
              <a:t>Filter/ remove confidential (PII) data [ Data cleansing]</a:t>
            </a:r>
          </a:p>
          <a:p>
            <a:pPr marL="228600" indent="-228600">
              <a:buAutoNum type="arabicPeriod"/>
            </a:pPr>
            <a:r>
              <a:rPr lang="en-US" dirty="0"/>
              <a:t>As part of analysis , we identified that only two column (description &amp; impact) are useful for further processing.</a:t>
            </a:r>
          </a:p>
          <a:p>
            <a:pPr marL="228600" indent="-228600">
              <a:buAutoNum type="arabicPeriod"/>
            </a:pPr>
            <a:r>
              <a:rPr lang="en-US" dirty="0"/>
              <a:t>Extracting the pattern from unstructured description. </a:t>
            </a:r>
          </a:p>
          <a:p>
            <a:pPr marL="228600" indent="-228600">
              <a:buAutoNum type="arabicPeriod"/>
            </a:pPr>
            <a:r>
              <a:rPr lang="en-US" dirty="0"/>
              <a:t>Defined incident Types were not present in the data, hence it need to be identified ,hence unsupervised approach is used. </a:t>
            </a:r>
          </a:p>
          <a:p>
            <a:pPr marL="228600" indent="-228600">
              <a:buAutoNum type="arabicPeriod"/>
            </a:pPr>
            <a:r>
              <a:rPr lang="en-US" dirty="0"/>
              <a:t>The textual data can not be used for clustering or model training , hence conversion to numerical format is required.   </a:t>
            </a:r>
          </a:p>
          <a:p>
            <a:pPr marL="228600" indent="-228600">
              <a:buAutoNum type="arabicPeriod"/>
            </a:pPr>
            <a:r>
              <a:rPr lang="en-US" dirty="0"/>
              <a:t>For identifying the different incident types present in the data ( hidden) , we used clustering technique.</a:t>
            </a:r>
          </a:p>
          <a:p>
            <a:pPr marL="228600" indent="-228600">
              <a:buAutoNum type="arabicPeriod"/>
            </a:pPr>
            <a:r>
              <a:rPr lang="en-US" dirty="0"/>
              <a:t>For predicting the incident type from available description of ticket, various ML libraires were used identify the right approach i.e. if mean accuracy scores were used for selection of best ML model. </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1DF94BC7-A3C7-4A13-9752-ED9C107D9EA2}" type="slidenum">
              <a:rPr lang="en-US" smtClean="0"/>
              <a:t>2</a:t>
            </a:fld>
            <a:endParaRPr lang="en-US"/>
          </a:p>
        </p:txBody>
      </p:sp>
    </p:spTree>
    <p:extLst>
      <p:ext uri="{BB962C8B-B14F-4D97-AF65-F5344CB8AC3E}">
        <p14:creationId xmlns:p14="http://schemas.microsoft.com/office/powerpoint/2010/main" val="2129983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F94BC7-A3C7-4A13-9752-ED9C107D9EA2}" type="slidenum">
              <a:rPr lang="en-US" smtClean="0"/>
              <a:t>3</a:t>
            </a:fld>
            <a:endParaRPr lang="en-US"/>
          </a:p>
        </p:txBody>
      </p:sp>
    </p:spTree>
    <p:extLst>
      <p:ext uri="{BB962C8B-B14F-4D97-AF65-F5344CB8AC3E}">
        <p14:creationId xmlns:p14="http://schemas.microsoft.com/office/powerpoint/2010/main" val="3477037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0" i="0" dirty="0">
                <a:solidFill>
                  <a:schemeClr val="accent2">
                    <a:lumMod val="50000"/>
                  </a:schemeClr>
                </a:solidFill>
                <a:latin typeface="Avenir Next" panose="020B0503020202020204" pitchFamily="34" charset="0"/>
              </a:rPr>
              <a:t>Step 1 : Sta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2 : Data Collection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latin typeface="Avenir Next" panose="020B0503020202020204" pitchFamily="34" charset="0"/>
              </a:rPr>
              <a:t>Dataset is from ServiceNow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latin typeface="Avenir Next" panose="020B0503020202020204" pitchFamily="34" charset="0"/>
              </a:rPr>
              <a:t>Dataset has 28,000 real world records from January to March 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3 . Data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latin typeface="Avenir Next" panose="020B0503020202020204" pitchFamily="34" charset="0"/>
              </a:rPr>
              <a:t>Data analysis involves inspection of all columns in data, its data type, values and selecting the column for further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latin typeface="Avenir Next" panose="020B0503020202020204" pitchFamily="34" charset="0"/>
              </a:rPr>
              <a:t>After data analysis, we found that out of 21 columns, only 2 columns can be used for processing .They are Description &amp; Imp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effectLst/>
                <a:latin typeface="Avenir Next" panose="020B0503020202020204" pitchFamily="34" charset="0"/>
              </a:rPr>
              <a:t>For Data Analysis following python libraries are use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4EC9B0"/>
                </a:solidFill>
                <a:effectLst/>
                <a:latin typeface="Consolas" panose="020B0609020204030204" pitchFamily="49" charset="0"/>
              </a:rPr>
              <a:t>pandas (For handling the </a:t>
            </a:r>
            <a:r>
              <a:rPr lang="en-US" b="0" dirty="0" err="1">
                <a:solidFill>
                  <a:srgbClr val="4EC9B0"/>
                </a:solidFill>
                <a:effectLst/>
                <a:latin typeface="Consolas" panose="020B0609020204030204" pitchFamily="49" charset="0"/>
              </a:rPr>
              <a:t>dataframes</a:t>
            </a:r>
            <a:r>
              <a:rPr lang="en-US" b="0" dirty="0">
                <a:solidFill>
                  <a:srgbClr val="4EC9B0"/>
                </a:solidFill>
                <a:effectLst/>
                <a:latin typeface="Consolas" panose="020B0609020204030204" pitchFamily="49" charset="0"/>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4EC9B0"/>
                </a:solidFill>
                <a:effectLst/>
                <a:latin typeface="Consolas" panose="020B0609020204030204" pitchFamily="49" charset="0"/>
              </a:rPr>
              <a:t> </a:t>
            </a:r>
            <a:r>
              <a:rPr lang="en-US" b="0" dirty="0" err="1">
                <a:solidFill>
                  <a:srgbClr val="4EC9B0"/>
                </a:solidFill>
                <a:effectLst/>
                <a:latin typeface="Consolas" panose="020B0609020204030204" pitchFamily="49" charset="0"/>
              </a:rPr>
              <a:t>numpy</a:t>
            </a:r>
            <a:r>
              <a:rPr lang="en-US" b="0" dirty="0">
                <a:solidFill>
                  <a:srgbClr val="4EC9B0"/>
                </a:solidFill>
                <a:effectLst/>
                <a:latin typeface="Consolas" panose="020B0609020204030204" pitchFamily="49" charset="0"/>
              </a:rPr>
              <a:t> (for handling the arrays) </a:t>
            </a:r>
            <a:endParaRPr lang="en-US" b="0" dirty="0">
              <a:solidFill>
                <a:srgbClr val="D4D4D4"/>
              </a:solidFill>
              <a:effectLst/>
              <a:latin typeface="Consolas" panose="020B0609020204030204" pitchFamily="49"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4EC9B0"/>
                </a:solidFill>
                <a:effectLst/>
                <a:latin typeface="Consolas" panose="020B0609020204030204" pitchFamily="49" charset="0"/>
              </a:rPr>
              <a:t>re (for identifying the pattern using regex)  </a:t>
            </a: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rgbClr val="1F245C"/>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4</a:t>
            </a:r>
            <a:r>
              <a:rPr lang="en-IN" b="1" i="0" dirty="0">
                <a:solidFill>
                  <a:srgbClr val="1F245C"/>
                </a:solidFill>
                <a:latin typeface="Avenir Next" panose="020B0503020202020204" pitchFamily="34" charset="0"/>
              </a:rPr>
              <a:t>. Create new data variable using data pre-process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After data analysis Description &amp; Impact are selected, Impact is categorical variable with values as High , Medium &amp; Lo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Description field gives the information about reported ticket. The description column have both structured &amp; unstructured text data. Handling it is challeng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Pre-processing steps are applied so as to get clean-short descrip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effectLst/>
                <a:latin typeface="Avenir Next" panose="020B0503020202020204" pitchFamily="34" charset="0"/>
              </a:rPr>
              <a:t>Following python libraries are use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4EC9B0"/>
                </a:solidFill>
                <a:effectLst/>
                <a:latin typeface="Consolas" panose="020B0609020204030204" pitchFamily="49" charset="0"/>
              </a:rPr>
              <a:t>pandas (For handling the </a:t>
            </a:r>
            <a:r>
              <a:rPr lang="en-US" b="0" dirty="0" err="1">
                <a:solidFill>
                  <a:srgbClr val="4EC9B0"/>
                </a:solidFill>
                <a:effectLst/>
                <a:latin typeface="Consolas" panose="020B0609020204030204" pitchFamily="49" charset="0"/>
              </a:rPr>
              <a:t>dataframes</a:t>
            </a:r>
            <a:r>
              <a:rPr lang="en-US" b="0" dirty="0">
                <a:solidFill>
                  <a:srgbClr val="4EC9B0"/>
                </a:solidFill>
                <a:effectLst/>
                <a:latin typeface="Consolas" panose="020B0609020204030204" pitchFamily="49" charset="0"/>
              </a:rPr>
              <a:t>) , </a:t>
            </a:r>
            <a:r>
              <a:rPr lang="en-US" b="0" dirty="0" err="1">
                <a:solidFill>
                  <a:srgbClr val="4EC9B0"/>
                </a:solidFill>
                <a:effectLst/>
                <a:latin typeface="Consolas" panose="020B0609020204030204" pitchFamily="49" charset="0"/>
              </a:rPr>
              <a:t>numpy</a:t>
            </a:r>
            <a:r>
              <a:rPr lang="en-US" b="0" dirty="0">
                <a:solidFill>
                  <a:srgbClr val="4EC9B0"/>
                </a:solidFill>
                <a:effectLst/>
                <a:latin typeface="Consolas" panose="020B0609020204030204" pitchFamily="49" charset="0"/>
              </a:rPr>
              <a:t> (for handling the arrays) </a:t>
            </a:r>
            <a:r>
              <a:rPr lang="en-US" b="0" dirty="0">
                <a:solidFill>
                  <a:srgbClr val="D4D4D4"/>
                </a:solidFill>
                <a:effectLst/>
                <a:latin typeface="Consolas" panose="020B0609020204030204" pitchFamily="49" charset="0"/>
              </a:rPr>
              <a:t>, </a:t>
            </a:r>
            <a:r>
              <a:rPr lang="en-US" b="0" dirty="0">
                <a:solidFill>
                  <a:srgbClr val="4EC9B0"/>
                </a:solidFill>
                <a:effectLst/>
                <a:latin typeface="Consolas" panose="020B0609020204030204" pitchFamily="49" charset="0"/>
              </a:rPr>
              <a:t>re (for identifying the pattern using regex) </a:t>
            </a:r>
            <a:endParaRPr lang="en-IN" b="0" i="0" dirty="0">
              <a:solidFill>
                <a:srgbClr val="1F245C"/>
              </a:solidFill>
              <a:latin typeface="Avenir Next" panose="020B0503020202020204" pitchFamily="34" charset="0"/>
            </a:endParaRPr>
          </a:p>
          <a:p>
            <a:pPr lvl="0"/>
            <a:endParaRPr lang="en-IN" b="0" i="0" dirty="0">
              <a:solidFill>
                <a:schemeClr val="accent2">
                  <a:lumMod val="50000"/>
                </a:schemeClr>
              </a:solidFill>
              <a:latin typeface="Avenir Next" panose="020B0503020202020204" pitchFamily="34" charset="0"/>
            </a:endParaRPr>
          </a:p>
          <a:p>
            <a:pPr lvl="0"/>
            <a:r>
              <a:rPr lang="en-IN" b="1" i="0" dirty="0">
                <a:solidFill>
                  <a:schemeClr val="accent2">
                    <a:lumMod val="50000"/>
                  </a:schemeClr>
                </a:solidFill>
                <a:latin typeface="Avenir Next" panose="020B0503020202020204" pitchFamily="34" charset="0"/>
              </a:rPr>
              <a:t>Step 5 :Identify if incident is related to Change request or Environment Change or Other : </a:t>
            </a:r>
          </a:p>
          <a:p>
            <a:pPr marL="171450" lvl="0" indent="-171450">
              <a:buFont typeface="Arial" panose="020B0604020202020204" pitchFamily="34" charset="0"/>
              <a:buChar char="•"/>
            </a:pPr>
            <a:r>
              <a:rPr lang="en-US" b="0" dirty="0">
                <a:solidFill>
                  <a:srgbClr val="4EC9B0"/>
                </a:solidFill>
                <a:effectLst/>
                <a:latin typeface="Consolas" panose="020B0609020204030204" pitchFamily="49" charset="0"/>
              </a:rPr>
              <a:t>The ticket is identified , if it is related to any change request  or Environment Change </a:t>
            </a:r>
          </a:p>
          <a:p>
            <a:pPr marL="171450" lvl="0" indent="-171450">
              <a:buFont typeface="Arial" panose="020B0604020202020204" pitchFamily="34" charset="0"/>
              <a:buChar char="•"/>
            </a:pPr>
            <a:r>
              <a:rPr lang="en-US" b="0" dirty="0">
                <a:solidFill>
                  <a:srgbClr val="4EC9B0"/>
                </a:solidFill>
                <a:effectLst/>
                <a:latin typeface="Consolas" panose="020B0609020204030204" pitchFamily="49" charset="0"/>
              </a:rPr>
              <a:t>For this processed description is used.  Two different set of keyword is used to identify if ticket is related change request or Environment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effectLst/>
                <a:latin typeface="Avenir Next" panose="020B0503020202020204" pitchFamily="34" charset="0"/>
              </a:rPr>
              <a:t>Following python libraries are used :</a:t>
            </a:r>
          </a:p>
          <a:p>
            <a:pPr marL="628650" lvl="1" indent="-171450">
              <a:buFont typeface="Arial" panose="020B0604020202020204" pitchFamily="34" charset="0"/>
              <a:buChar char="•"/>
            </a:pPr>
            <a:r>
              <a:rPr lang="en-US" b="0" dirty="0">
                <a:solidFill>
                  <a:srgbClr val="4EC9B0"/>
                </a:solidFill>
                <a:effectLst/>
                <a:latin typeface="Consolas" panose="020B0609020204030204" pitchFamily="49" charset="0"/>
              </a:rPr>
              <a:t>pandas (For handling the </a:t>
            </a:r>
            <a:r>
              <a:rPr lang="en-US" b="0" dirty="0" err="1">
                <a:solidFill>
                  <a:srgbClr val="4EC9B0"/>
                </a:solidFill>
                <a:effectLst/>
                <a:latin typeface="Consolas" panose="020B0609020204030204" pitchFamily="49" charset="0"/>
              </a:rPr>
              <a:t>dataframes</a:t>
            </a:r>
            <a:r>
              <a:rPr lang="en-US" b="0" dirty="0">
                <a:solidFill>
                  <a:srgbClr val="4EC9B0"/>
                </a:solidFill>
                <a:effectLst/>
                <a:latin typeface="Consolas" panose="020B0609020204030204" pitchFamily="49" charset="0"/>
              </a:rPr>
              <a:t> containing the description)</a:t>
            </a:r>
            <a:endParaRPr lang="en-IN" b="0"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rgbClr val="1F245C"/>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6 : </a:t>
            </a:r>
            <a:r>
              <a:rPr lang="en-IN" b="1" i="0" dirty="0">
                <a:solidFill>
                  <a:srgbClr val="1F245C"/>
                </a:solidFill>
                <a:latin typeface="Avenir Next" panose="020B0503020202020204" pitchFamily="34" charset="0"/>
              </a:rPr>
              <a:t>Cluster the incidents to identify the pattern :</a:t>
            </a:r>
            <a:r>
              <a:rPr lang="en-IN" b="0" i="0" dirty="0">
                <a:solidFill>
                  <a:srgbClr val="1F245C"/>
                </a:solidFill>
                <a:latin typeface="Avenir Next" panose="020B0503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Data set contains different incidents, similar incidents needs to grouped together, so that We can use these incident types for model training &amp; predi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For grouping of incidents , k-means clustering algorithm is u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F245C"/>
                </a:solidFill>
                <a:latin typeface="Avenir Next" panose="020B0503020202020204" pitchFamily="34" charset="0"/>
              </a:rPr>
              <a:t>The grouping of incidents is done using processed text descri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effectLst/>
                <a:latin typeface="Avenir Next" panose="020B0503020202020204" pitchFamily="34" charset="0"/>
              </a:rPr>
              <a:t>Following python libraries are use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4EC9B0"/>
                </a:solidFill>
                <a:effectLst/>
                <a:latin typeface="Consolas" panose="020B0609020204030204" pitchFamily="49" charset="0"/>
              </a:rPr>
              <a:t>pandas, matplotlib (for Visualization) , </a:t>
            </a:r>
            <a:r>
              <a:rPr lang="en-US" b="0" dirty="0" err="1">
                <a:solidFill>
                  <a:srgbClr val="4EC9B0"/>
                </a:solidFill>
                <a:effectLst/>
                <a:latin typeface="Consolas" panose="020B0609020204030204" pitchFamily="49" charset="0"/>
              </a:rPr>
              <a:t>TfidfVectorizer</a:t>
            </a:r>
            <a:r>
              <a:rPr lang="en-US" b="0" dirty="0">
                <a:solidFill>
                  <a:srgbClr val="4EC9B0"/>
                </a:solidFill>
                <a:effectLst/>
                <a:latin typeface="Consolas" panose="020B0609020204030204" pitchFamily="49" charset="0"/>
              </a:rPr>
              <a:t> (for creating TF-IDF vectors from text) </a:t>
            </a:r>
            <a:r>
              <a:rPr lang="en-US" b="0" dirty="0">
                <a:solidFill>
                  <a:srgbClr val="D4D4D4"/>
                </a:solidFill>
                <a:effectLst/>
                <a:latin typeface="Consolas" panose="020B0609020204030204" pitchFamily="49" charset="0"/>
              </a:rPr>
              <a:t> ,</a:t>
            </a:r>
            <a:r>
              <a:rPr lang="en-US" b="0" dirty="0">
                <a:solidFill>
                  <a:srgbClr val="4EC9B0"/>
                </a:solidFill>
                <a:effectLst/>
                <a:latin typeface="Consolas" panose="020B0609020204030204" pitchFamily="49" charset="0"/>
              </a:rPr>
              <a:t> </a:t>
            </a:r>
            <a:r>
              <a:rPr lang="en-US" b="0" dirty="0" err="1">
                <a:solidFill>
                  <a:srgbClr val="4EC9B0"/>
                </a:solidFill>
                <a:effectLst/>
                <a:latin typeface="Consolas" panose="020B0609020204030204" pitchFamily="49" charset="0"/>
              </a:rPr>
              <a:t>Kmeans</a:t>
            </a:r>
            <a:r>
              <a:rPr lang="en-US" b="0" dirty="0">
                <a:solidFill>
                  <a:srgbClr val="4EC9B0"/>
                </a:solidFill>
                <a:effectLst/>
                <a:latin typeface="Consolas" panose="020B0609020204030204" pitchFamily="49" charset="0"/>
              </a:rPr>
              <a:t> (for clustering algorithm)</a:t>
            </a:r>
            <a:r>
              <a:rPr lang="en-US" b="0" dirty="0">
                <a:solidFill>
                  <a:srgbClr val="D4D4D4"/>
                </a:solidFill>
                <a:effectLst/>
                <a:latin typeface="Consolas" panose="020B0609020204030204" pitchFamily="49" charset="0"/>
              </a:rPr>
              <a:t>, </a:t>
            </a:r>
            <a:r>
              <a:rPr lang="en-US" b="0" dirty="0">
                <a:solidFill>
                  <a:srgbClr val="4EC9B0"/>
                </a:solidFill>
                <a:effectLst/>
                <a:latin typeface="Consolas" panose="020B0609020204030204" pitchFamily="49" charset="0"/>
              </a:rPr>
              <a:t>PCA (for reducing the number of features to two, so that clusters can be shown on plots)</a:t>
            </a:r>
            <a:endParaRPr lang="en-IN" b="0" i="0" dirty="0">
              <a:solidFill>
                <a:srgbClr val="1F245C"/>
              </a:solidFill>
              <a:latin typeface="Avenir Next" panose="020B0503020202020204" pitchFamily="34" charset="0"/>
            </a:endParaRPr>
          </a:p>
          <a:p>
            <a:endParaRPr lang="en-IN" b="0" i="0" dirty="0">
              <a:solidFill>
                <a:srgbClr val="1F245C"/>
              </a:solidFill>
              <a:latin typeface="Avenir Next" panose="020B0503020202020204" pitchFamily="34" charset="0"/>
            </a:endParaRPr>
          </a:p>
          <a:p>
            <a:r>
              <a:rPr lang="en-IN" b="1" i="0" dirty="0">
                <a:solidFill>
                  <a:schemeClr val="accent2">
                    <a:lumMod val="50000"/>
                  </a:schemeClr>
                </a:solidFill>
                <a:latin typeface="Avenir Next" panose="020B0503020202020204" pitchFamily="34" charset="0"/>
              </a:rPr>
              <a:t>Step 7 : </a:t>
            </a:r>
            <a:r>
              <a:rPr lang="en-IN" b="1" i="0" dirty="0">
                <a:solidFill>
                  <a:srgbClr val="1F245C"/>
                </a:solidFill>
                <a:latin typeface="Avenir Next" panose="020B0503020202020204" pitchFamily="34" charset="0"/>
              </a:rPr>
              <a:t>Model training &amp; evaluation for predication of incidents categories :  </a:t>
            </a:r>
          </a:p>
          <a:p>
            <a:pPr marL="171450" indent="-171450">
              <a:buFont typeface="Arial" panose="020B0604020202020204" pitchFamily="34" charset="0"/>
              <a:buChar char="•"/>
            </a:pPr>
            <a:r>
              <a:rPr lang="en-IN" b="0" i="0" dirty="0">
                <a:solidFill>
                  <a:srgbClr val="1F245C"/>
                </a:solidFill>
                <a:effectLst/>
                <a:latin typeface="Avenir Next" panose="020B0503020202020204" pitchFamily="34" charset="0"/>
              </a:rPr>
              <a:t>Every change request or Environment change related ticket is need to be categorized in any one of the incident type, based on its description.  </a:t>
            </a:r>
          </a:p>
          <a:p>
            <a:pPr marL="171450" indent="-171450">
              <a:buFont typeface="Arial" panose="020B0604020202020204" pitchFamily="34" charset="0"/>
              <a:buChar char="•"/>
            </a:pPr>
            <a:r>
              <a:rPr lang="en-IN" b="0" i="0" dirty="0">
                <a:solidFill>
                  <a:srgbClr val="1F245C"/>
                </a:solidFill>
                <a:effectLst/>
                <a:latin typeface="Avenir Next" panose="020B0503020202020204" pitchFamily="34" charset="0"/>
              </a:rPr>
              <a:t>For this purpose , we need to create two classifiers. One for change request related and other for Environment related tickets.</a:t>
            </a:r>
          </a:p>
          <a:p>
            <a:pPr marL="171450" indent="-171450">
              <a:buFont typeface="Arial" panose="020B0604020202020204" pitchFamily="34" charset="0"/>
              <a:buChar char="•"/>
            </a:pPr>
            <a:r>
              <a:rPr lang="en-IN" b="0" i="0" dirty="0">
                <a:solidFill>
                  <a:srgbClr val="1F245C"/>
                </a:solidFill>
                <a:effectLst/>
                <a:latin typeface="Avenir Next" panose="020B0503020202020204" pitchFamily="34" charset="0"/>
              </a:rPr>
              <a:t>For each classifier , we trained ,4-5 different classifiers, all are tested 5-fold cross validation and selected one classifier with best mean accuracy value. </a:t>
            </a:r>
          </a:p>
          <a:p>
            <a:pPr marL="171450" indent="-171450">
              <a:buFont typeface="Arial" panose="020B0604020202020204" pitchFamily="34" charset="0"/>
              <a:buChar char="•"/>
            </a:pPr>
            <a:r>
              <a:rPr lang="en-IN" b="0" i="0" dirty="0">
                <a:solidFill>
                  <a:schemeClr val="accent2">
                    <a:lumMod val="50000"/>
                  </a:schemeClr>
                </a:solidFill>
                <a:effectLst/>
                <a:latin typeface="Avenir Next" panose="020B0503020202020204" pitchFamily="34" charset="0"/>
              </a:rPr>
              <a:t>Following python libraries are used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4EC9B0"/>
                </a:solidFill>
                <a:effectLst/>
                <a:latin typeface="Consolas" panose="020B0609020204030204" pitchFamily="49" charset="0"/>
              </a:rPr>
              <a:t>CountVectorizer</a:t>
            </a:r>
            <a:r>
              <a:rPr lang="en-US" b="0" dirty="0">
                <a:solidFill>
                  <a:srgbClr val="4EC9B0"/>
                </a:solidFill>
                <a:effectLst/>
                <a:latin typeface="Consolas" panose="020B0609020204030204" pitchFamily="49" charset="0"/>
              </a:rPr>
              <a:t> (to convert text to array of token counts)</a:t>
            </a:r>
            <a:endParaRPr lang="en-US" b="0" dirty="0">
              <a:solidFill>
                <a:srgbClr val="D4D4D4"/>
              </a:solidFill>
              <a:effectLst/>
              <a:latin typeface="Consolas" panose="020B0609020204030204" pitchFamily="49" charset="0"/>
            </a:endParaRPr>
          </a:p>
          <a:p>
            <a:pPr marL="628650" lvl="1" indent="-171450">
              <a:buFont typeface="Arial" panose="020B0604020202020204" pitchFamily="34" charset="0"/>
              <a:buChar char="•"/>
            </a:pPr>
            <a:r>
              <a:rPr lang="en-US" b="0" dirty="0" err="1">
                <a:solidFill>
                  <a:srgbClr val="4EC9B0"/>
                </a:solidFill>
                <a:effectLst/>
                <a:latin typeface="Consolas" panose="020B0609020204030204" pitchFamily="49" charset="0"/>
              </a:rPr>
              <a:t>LinearSVC</a:t>
            </a:r>
            <a:r>
              <a:rPr lang="en-US" b="0" dirty="0">
                <a:solidFill>
                  <a:srgbClr val="4EC9B0"/>
                </a:solidFill>
                <a:effectLst/>
                <a:latin typeface="Consolas" panose="020B0609020204030204" pitchFamily="49" charset="0"/>
              </a:rPr>
              <a:t> ,DecisionTreeClassifier,RandomForestClassifier,KNeighborsClassifier , </a:t>
            </a:r>
            <a:r>
              <a:rPr lang="en-US" b="0" dirty="0" err="1">
                <a:solidFill>
                  <a:srgbClr val="4EC9B0"/>
                </a:solidFill>
                <a:effectLst/>
                <a:latin typeface="Consolas" panose="020B0609020204030204" pitchFamily="49" charset="0"/>
              </a:rPr>
              <a:t>MultinomialNB</a:t>
            </a:r>
            <a:r>
              <a:rPr lang="en-US" b="0" dirty="0">
                <a:solidFill>
                  <a:srgbClr val="4EC9B0"/>
                </a:solidFill>
                <a:effectLst/>
                <a:latin typeface="Consolas" panose="020B0609020204030204" pitchFamily="49" charset="0"/>
              </a:rPr>
              <a:t> (These are used for creating classifi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DCDCAA"/>
                </a:solidFill>
                <a:effectLst/>
                <a:latin typeface="Consolas" panose="020B0609020204030204" pitchFamily="49" charset="0"/>
              </a:rPr>
              <a:t>train_test_split</a:t>
            </a:r>
            <a:r>
              <a:rPr lang="en-US" b="0" dirty="0">
                <a:solidFill>
                  <a:srgbClr val="DCDCAA"/>
                </a:solidFill>
                <a:effectLst/>
                <a:latin typeface="Consolas" panose="020B0609020204030204" pitchFamily="49" charset="0"/>
              </a:rPr>
              <a:t> (for splitting the data), </a:t>
            </a:r>
            <a:r>
              <a:rPr lang="en-US" b="0" dirty="0" err="1">
                <a:solidFill>
                  <a:srgbClr val="DCDCAA"/>
                </a:solidFill>
                <a:effectLst/>
                <a:latin typeface="Consolas" panose="020B0609020204030204" pitchFamily="49" charset="0"/>
              </a:rPr>
              <a:t>accuracy_score</a:t>
            </a:r>
            <a:r>
              <a:rPr lang="en-US" b="0" dirty="0">
                <a:solidFill>
                  <a:srgbClr val="DCDCAA"/>
                </a:solidFill>
                <a:effectLst/>
                <a:latin typeface="Consolas" panose="020B0609020204030204" pitchFamily="49" charset="0"/>
              </a:rPr>
              <a:t>, </a:t>
            </a:r>
            <a:r>
              <a:rPr lang="en-US" b="0" dirty="0" err="1">
                <a:solidFill>
                  <a:srgbClr val="DCDCAA"/>
                </a:solidFill>
                <a:effectLst/>
                <a:latin typeface="Consolas" panose="020B0609020204030204" pitchFamily="49" charset="0"/>
              </a:rPr>
              <a:t>classification_report</a:t>
            </a:r>
            <a:r>
              <a:rPr lang="en-US" b="0" dirty="0">
                <a:solidFill>
                  <a:srgbClr val="DCDCAA"/>
                </a:solidFill>
                <a:effectLst/>
                <a:latin typeface="Consolas" panose="020B0609020204030204" pitchFamily="49" charset="0"/>
              </a:rPr>
              <a:t> (for performance evaluation) </a:t>
            </a:r>
            <a:endParaRPr lang="en-US" b="0" dirty="0">
              <a:solidFill>
                <a:srgbClr val="D4D4D4"/>
              </a:solidFill>
              <a:effectLst/>
              <a:latin typeface="Consolas" panose="020B0609020204030204" pitchFamily="49"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err="1">
                <a:solidFill>
                  <a:srgbClr val="D4D4D4"/>
                </a:solidFill>
                <a:effectLst/>
                <a:latin typeface="Consolas" panose="020B0609020204030204" pitchFamily="49" charset="0"/>
              </a:rPr>
              <a:t>Joblib</a:t>
            </a:r>
            <a:r>
              <a:rPr lang="en-US" b="0" dirty="0">
                <a:solidFill>
                  <a:srgbClr val="D4D4D4"/>
                </a:solidFill>
                <a:effectLst/>
                <a:latin typeface="Consolas" panose="020B0609020204030204" pitchFamily="49" charset="0"/>
              </a:rPr>
              <a:t> (for saving &amp; loading trained model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i="0" dirty="0">
                <a:solidFill>
                  <a:schemeClr val="accent2">
                    <a:lumMod val="50000"/>
                  </a:schemeClr>
                </a:solidFill>
                <a:latin typeface="Avenir Next" panose="020B0503020202020204" pitchFamily="34" charset="0"/>
              </a:rPr>
              <a:t>Step 8 : Predication of other incidents using NLP techniques :</a:t>
            </a:r>
          </a:p>
          <a:p>
            <a:pPr marL="171450" lvl="0" indent="-171450">
              <a:buFont typeface="Arial" panose="020B0604020202020204" pitchFamily="34" charset="0"/>
              <a:buChar char="•"/>
            </a:pPr>
            <a:r>
              <a:rPr lang="en-US" b="0" dirty="0">
                <a:solidFill>
                  <a:srgbClr val="4EC9B0"/>
                </a:solidFill>
                <a:effectLst/>
                <a:latin typeface="Consolas" panose="020B0609020204030204" pitchFamily="49" charset="0"/>
              </a:rPr>
              <a:t>For all other tickets which are not related to any change request  or Environment Change , are analyzed </a:t>
            </a:r>
          </a:p>
          <a:p>
            <a:pPr marL="171450" lvl="0" indent="-171450">
              <a:buFont typeface="Arial" panose="020B0604020202020204" pitchFamily="34" charset="0"/>
              <a:buChar char="•"/>
            </a:pPr>
            <a:r>
              <a:rPr lang="en-US" b="0" dirty="0">
                <a:solidFill>
                  <a:srgbClr val="4EC9B0"/>
                </a:solidFill>
                <a:effectLst/>
                <a:latin typeface="Consolas" panose="020B0609020204030204" pitchFamily="49" charset="0"/>
              </a:rPr>
              <a:t>Most of these are Capacity Incidents or Service request Incidents.  </a:t>
            </a:r>
          </a:p>
          <a:p>
            <a:pPr marL="171450" lvl="0" indent="-171450">
              <a:buFont typeface="Arial" panose="020B0604020202020204" pitchFamily="34" charset="0"/>
              <a:buChar char="•"/>
            </a:pPr>
            <a:r>
              <a:rPr lang="en-US" b="0" dirty="0">
                <a:solidFill>
                  <a:srgbClr val="4EC9B0"/>
                </a:solidFill>
                <a:effectLst/>
                <a:latin typeface="Consolas" panose="020B0609020204030204" pitchFamily="49" charset="0"/>
              </a:rPr>
              <a:t>We used the processed description &amp; set of keywords to identify if ticket is capacity incident or Service request Incid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effectLst/>
                <a:latin typeface="Avenir Next" panose="020B0503020202020204" pitchFamily="34" charset="0"/>
              </a:rPr>
              <a:t>Following python libraries are used :</a:t>
            </a:r>
          </a:p>
          <a:p>
            <a:pPr marL="628650" lvl="1" indent="-171450">
              <a:buFont typeface="Arial" panose="020B0604020202020204" pitchFamily="34" charset="0"/>
              <a:buChar char="•"/>
            </a:pPr>
            <a:r>
              <a:rPr lang="en-US" b="0" dirty="0">
                <a:solidFill>
                  <a:srgbClr val="4EC9B0"/>
                </a:solidFill>
                <a:effectLst/>
                <a:latin typeface="Consolas" panose="020B0609020204030204" pitchFamily="49" charset="0"/>
              </a:rPr>
              <a:t>pandas (For handling the </a:t>
            </a:r>
            <a:r>
              <a:rPr lang="en-US" b="0" dirty="0" err="1">
                <a:solidFill>
                  <a:srgbClr val="4EC9B0"/>
                </a:solidFill>
                <a:effectLst/>
                <a:latin typeface="Consolas" panose="020B0609020204030204" pitchFamily="49" charset="0"/>
              </a:rPr>
              <a:t>dataframes</a:t>
            </a:r>
            <a:r>
              <a:rPr lang="en-US" b="0" dirty="0">
                <a:solidFill>
                  <a:srgbClr val="4EC9B0"/>
                </a:solidFill>
                <a:effectLst/>
                <a:latin typeface="Consolas" panose="020B0609020204030204" pitchFamily="49" charset="0"/>
              </a:rPr>
              <a:t> containing the description)</a:t>
            </a:r>
            <a:endParaRPr lang="en-IN" b="0"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b="0" i="0" dirty="0">
              <a:solidFill>
                <a:schemeClr val="accent2">
                  <a:lumMod val="50000"/>
                </a:schemeClr>
              </a:solidFill>
              <a:latin typeface="Avenir Next" panose="020B0503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b="0"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9 : </a:t>
            </a:r>
            <a:r>
              <a:rPr lang="en-IN" b="1" i="0" dirty="0">
                <a:solidFill>
                  <a:srgbClr val="1F245C"/>
                </a:solidFill>
                <a:latin typeface="Avenir Next" panose="020B0503020202020204" pitchFamily="34" charset="0"/>
              </a:rPr>
              <a:t>Prediction of resolution time</a:t>
            </a:r>
            <a:r>
              <a:rPr lang="en-IN" b="0" i="0" dirty="0">
                <a:solidFill>
                  <a:srgbClr val="1F245C"/>
                </a:solidFill>
                <a:latin typeface="Avenir Next" panose="020B0503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0" i="0" dirty="0">
                <a:solidFill>
                  <a:srgbClr val="1F245C"/>
                </a:solidFill>
                <a:latin typeface="Avenir Next" panose="020B0503020202020204" pitchFamily="34" charset="0"/>
              </a:rPr>
              <a:t>When a ticket is created in system, this step will predict the expected average resolution tim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0" i="0" dirty="0">
                <a:solidFill>
                  <a:srgbClr val="1F245C"/>
                </a:solidFill>
                <a:latin typeface="Avenir Next" panose="020B0503020202020204" pitchFamily="34" charset="0"/>
              </a:rPr>
              <a:t>For this , first the incident type of ticket will be identified, then its sub-category of ticket is identified, using this information and with analysis of  similar past tickets, its expected resolution time will be calcul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10 : </a:t>
            </a:r>
            <a:r>
              <a:rPr lang="en-US" b="1" i="0" dirty="0">
                <a:solidFill>
                  <a:schemeClr val="accent2">
                    <a:lumMod val="50000"/>
                  </a:schemeClr>
                </a:solidFill>
                <a:latin typeface="Avenir Next" panose="020B0503020202020204" pitchFamily="34" charset="0"/>
              </a:rPr>
              <a:t>Predicting possibility of a change fail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D4D4D4"/>
                </a:solidFill>
                <a:effectLst/>
                <a:latin typeface="Consolas" panose="020B0609020204030204" pitchFamily="49" charset="0"/>
              </a:rPr>
              <a:t>When a change request is raised, then what is possibility of change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11 : Predict the components related new chan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chemeClr val="accent2">
                    <a:lumMod val="50000"/>
                  </a:schemeClr>
                </a:solidFill>
                <a:latin typeface="Avenir Next" panose="020B0503020202020204" pitchFamily="34" charset="0"/>
              </a:rPr>
              <a:t>When a new change is applied, what components may fa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12 : </a:t>
            </a:r>
            <a:r>
              <a:rPr lang="en-US" b="1" i="0" dirty="0">
                <a:solidFill>
                  <a:srgbClr val="1F245C"/>
                </a:solidFill>
                <a:latin typeface="Avenir Next" panose="020B0503020202020204" pitchFamily="34" charset="0"/>
              </a:rPr>
              <a:t>Predicting possible incident on a new deployment</a:t>
            </a:r>
            <a:endParaRPr lang="en-IN" b="1" i="0" dirty="0">
              <a:solidFill>
                <a:srgbClr val="1F245C"/>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13 : Root Cause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i="0" dirty="0">
              <a:solidFill>
                <a:schemeClr val="accent2">
                  <a:lumMod val="50000"/>
                </a:schemeClr>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chemeClr val="accent2">
                    <a:lumMod val="50000"/>
                  </a:schemeClr>
                </a:solidFill>
                <a:latin typeface="Avenir Next" panose="020B0503020202020204" pitchFamily="34" charset="0"/>
              </a:rPr>
              <a:t>Step 14 : Documentation</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rgbClr val="1F245C"/>
              </a:solidFill>
              <a:latin typeface="Avenir Next" panose="020B0503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0" i="0" dirty="0">
              <a:solidFill>
                <a:srgbClr val="1F245C"/>
              </a:solidFill>
              <a:latin typeface="Avenir Next" panose="020B0503020202020204" pitchFamily="34" charset="0"/>
            </a:endParaRPr>
          </a:p>
          <a:p>
            <a:endParaRPr lang="en-US" dirty="0"/>
          </a:p>
        </p:txBody>
      </p:sp>
    </p:spTree>
    <p:extLst>
      <p:ext uri="{BB962C8B-B14F-4D97-AF65-F5344CB8AC3E}">
        <p14:creationId xmlns:p14="http://schemas.microsoft.com/office/powerpoint/2010/main" val="4043630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aw Data:</a:t>
            </a:r>
          </a:p>
          <a:p>
            <a:pPr marL="171450" indent="-171450">
              <a:buFont typeface="Arial" panose="020B0604020202020204" pitchFamily="34" charset="0"/>
              <a:buChar char="•"/>
            </a:pPr>
            <a:r>
              <a:rPr lang="en-US" b="0" dirty="0"/>
              <a:t>Dataset from ServiceNow platform with 28000 records.</a:t>
            </a:r>
          </a:p>
          <a:p>
            <a:pPr marL="171450" indent="-171450">
              <a:buFont typeface="Arial" panose="020B0604020202020204" pitchFamily="34" charset="0"/>
              <a:buChar char="•"/>
            </a:pPr>
            <a:r>
              <a:rPr lang="en-US" b="0" dirty="0"/>
              <a:t>Each record has 21 fields/ columns.</a:t>
            </a:r>
          </a:p>
          <a:p>
            <a:pPr marL="171450" indent="-171450">
              <a:buFont typeface="Arial" panose="020B0604020202020204" pitchFamily="34" charset="0"/>
              <a:buChar char="•"/>
            </a:pPr>
            <a:r>
              <a:rPr lang="en-US" b="0" dirty="0"/>
              <a:t>After data analysis , following fields are not useful</a:t>
            </a:r>
          </a:p>
          <a:p>
            <a:pPr marL="628650" lvl="1" indent="-171450">
              <a:buFont typeface="Arial" panose="020B0604020202020204" pitchFamily="34" charset="0"/>
              <a:buChar char="•"/>
            </a:pPr>
            <a:r>
              <a:rPr lang="en-US" b="0" dirty="0"/>
              <a:t>Assigned to ,Affected User ,Closed By, Created by, Requester - Due to Personal Information (PII) like name, email, contact number </a:t>
            </a:r>
            <a:r>
              <a:rPr lang="en-US" b="0" dirty="0" err="1"/>
              <a:t>etc</a:t>
            </a:r>
            <a:r>
              <a:rPr lang="en-US" b="0" dirty="0"/>
              <a:t> </a:t>
            </a:r>
            <a:r>
              <a:rPr lang="en-US" b="1" dirty="0"/>
              <a:t> </a:t>
            </a:r>
          </a:p>
          <a:p>
            <a:pPr marL="628650" lvl="1" indent="-171450">
              <a:buFont typeface="Arial" panose="020B0604020202020204" pitchFamily="34" charset="0"/>
              <a:buChar char="•"/>
            </a:pPr>
            <a:r>
              <a:rPr lang="en-US" b="0" dirty="0"/>
              <a:t>Updated, Assignment group, Business duration, Closed, Duration, Resolve time, State – This information is not available in new tickets</a:t>
            </a:r>
          </a:p>
          <a:p>
            <a:pPr marL="628650" lvl="1" indent="-171450">
              <a:buFont typeface="Arial" panose="020B0604020202020204" pitchFamily="34" charset="0"/>
              <a:buChar char="•"/>
            </a:pPr>
            <a:r>
              <a:rPr lang="en-US" b="0" dirty="0"/>
              <a:t>Number, Active, Created, Domain, Incident Type, Incident state, Made SLA – Very less information or no change is information </a:t>
            </a:r>
          </a:p>
          <a:p>
            <a:pPr marL="171450" indent="-171450">
              <a:buFont typeface="Arial" panose="020B0604020202020204" pitchFamily="34" charset="0"/>
              <a:buChar char="•"/>
            </a:pPr>
            <a:r>
              <a:rPr lang="en-US" b="0" dirty="0"/>
              <a:t>Only useful fields are</a:t>
            </a:r>
          </a:p>
          <a:p>
            <a:pPr marL="171450" indent="-171450">
              <a:buFont typeface="Arial" panose="020B0604020202020204" pitchFamily="34" charset="0"/>
              <a:buChar char="•"/>
            </a:pPr>
            <a:r>
              <a:rPr lang="en-US" b="0" dirty="0"/>
              <a:t>Description : Description of the incident</a:t>
            </a:r>
          </a:p>
          <a:p>
            <a:pPr marL="171450" indent="-171450">
              <a:buFont typeface="Arial" panose="020B0604020202020204" pitchFamily="34" charset="0"/>
              <a:buChar char="•"/>
            </a:pPr>
            <a:r>
              <a:rPr lang="en-US" b="0" dirty="0"/>
              <a:t>Impact : categorical values like High, Medium or Low</a:t>
            </a:r>
          </a:p>
          <a:p>
            <a:pPr marL="171450" indent="-171450">
              <a:buFont typeface="Arial" panose="020B0604020202020204" pitchFamily="34" charset="0"/>
              <a:buChar char="•"/>
            </a:pPr>
            <a:endParaRPr lang="en-US" b="1" dirty="0"/>
          </a:p>
        </p:txBody>
      </p:sp>
    </p:spTree>
    <p:extLst>
      <p:ext uri="{BB962C8B-B14F-4D97-AF65-F5344CB8AC3E}">
        <p14:creationId xmlns:p14="http://schemas.microsoft.com/office/powerpoint/2010/main" val="2298428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 on Each Lib.</a:t>
            </a:r>
          </a:p>
          <a:p>
            <a:endParaRPr lang="en-US" dirty="0"/>
          </a:p>
          <a:p>
            <a:pPr marL="171450" indent="-171450">
              <a:buFont typeface="Arial" panose="020B0604020202020204" pitchFamily="34" charset="0"/>
              <a:buChar char="•"/>
            </a:pPr>
            <a:r>
              <a:rPr lang="en-US" b="1" dirty="0" err="1"/>
              <a:t>RegEx</a:t>
            </a:r>
            <a:r>
              <a:rPr lang="en-US" b="1" dirty="0"/>
              <a:t> </a:t>
            </a:r>
            <a:r>
              <a:rPr lang="en-US" dirty="0"/>
              <a:t>– find data patterns using wildcard syntax (https://docs.python.org/3/library/re.html)</a:t>
            </a:r>
          </a:p>
          <a:p>
            <a:pPr marL="171450" indent="-171450">
              <a:buFont typeface="Arial" panose="020B0604020202020204" pitchFamily="34" charset="0"/>
              <a:buChar char="•"/>
            </a:pPr>
            <a:r>
              <a:rPr lang="en-US" b="1" dirty="0"/>
              <a:t>NLTK </a:t>
            </a:r>
            <a:r>
              <a:rPr lang="en-US" dirty="0"/>
              <a:t>– Natural Language Toolkit used for stop words removal (https://www.nltk.org/)</a:t>
            </a:r>
          </a:p>
          <a:p>
            <a:pPr marL="171450" indent="-171450">
              <a:buFont typeface="Arial" panose="020B0604020202020204" pitchFamily="34" charset="0"/>
              <a:buChar char="•"/>
            </a:pPr>
            <a:r>
              <a:rPr lang="en-US" b="1" dirty="0"/>
              <a:t>Stanford NLP </a:t>
            </a:r>
            <a:r>
              <a:rPr lang="en-US" dirty="0"/>
              <a:t>–  Used for identifying the Name Entity Recognition and to eliminate PI data such as Name, email, Phone no. </a:t>
            </a:r>
            <a:r>
              <a:rPr lang="en-US" dirty="0" err="1"/>
              <a:t>etc</a:t>
            </a:r>
            <a:r>
              <a:rPr lang="en-US" dirty="0"/>
              <a:t> (https://nlp.stanford.edu/)</a:t>
            </a:r>
          </a:p>
          <a:p>
            <a:endParaRPr lang="en-US" dirty="0"/>
          </a:p>
          <a:p>
            <a:pPr marL="171450" indent="-171450">
              <a:buFont typeface="Arial" panose="020B0604020202020204" pitchFamily="34" charset="0"/>
              <a:buChar char="•"/>
            </a:pPr>
            <a:r>
              <a:rPr lang="en-US" b="1" dirty="0"/>
              <a:t>Pandas </a:t>
            </a:r>
            <a:r>
              <a:rPr lang="en-US" dirty="0"/>
              <a:t>: For handling </a:t>
            </a:r>
            <a:r>
              <a:rPr lang="en-US" dirty="0" err="1"/>
              <a:t>dataframe</a:t>
            </a:r>
            <a:r>
              <a:rPr lang="en-US" dirty="0"/>
              <a:t>, reading excel files, save data variables to csv files (https://pandas.pydata.org/)</a:t>
            </a:r>
          </a:p>
          <a:p>
            <a:pPr marL="171450" indent="-171450">
              <a:buFont typeface="Arial" panose="020B0604020202020204" pitchFamily="34" charset="0"/>
              <a:buChar char="•"/>
            </a:pPr>
            <a:r>
              <a:rPr lang="en-US" b="1" dirty="0"/>
              <a:t>NumPy </a:t>
            </a:r>
            <a:r>
              <a:rPr lang="en-US" dirty="0"/>
              <a:t>: For handling arrays (https://numpy.org/)</a:t>
            </a:r>
          </a:p>
          <a:p>
            <a:pPr marL="171450" indent="-171450">
              <a:buFont typeface="Arial" panose="020B0604020202020204" pitchFamily="34" charset="0"/>
              <a:buChar char="•"/>
            </a:pPr>
            <a:r>
              <a:rPr lang="en-US" b="1" dirty="0"/>
              <a:t>Scikit-Learn</a:t>
            </a:r>
            <a:r>
              <a:rPr lang="en-US" dirty="0"/>
              <a:t> : for Machine Learning Algorithms (https://scikit-learn.org/stable/)</a:t>
            </a:r>
          </a:p>
          <a:p>
            <a:pPr marL="171450" indent="-171450">
              <a:buFont typeface="Arial" panose="020B0604020202020204" pitchFamily="34" charset="0"/>
              <a:buChar char="•"/>
            </a:pPr>
            <a:r>
              <a:rPr lang="en-US" b="1" dirty="0"/>
              <a:t>Seaborn</a:t>
            </a:r>
            <a:r>
              <a:rPr lang="en-US" dirty="0"/>
              <a:t> : For visualization  (https://seaborn.pydata.org/)</a:t>
            </a:r>
          </a:p>
          <a:p>
            <a:pPr marL="171450" indent="-171450">
              <a:buFont typeface="Arial" panose="020B0604020202020204" pitchFamily="34" charset="0"/>
              <a:buChar char="•"/>
            </a:pPr>
            <a:r>
              <a:rPr lang="en-US" b="1" dirty="0" err="1"/>
              <a:t>Joblib</a:t>
            </a:r>
            <a:r>
              <a:rPr lang="en-US" b="1" dirty="0"/>
              <a:t> </a:t>
            </a:r>
            <a:r>
              <a:rPr lang="en-US" dirty="0"/>
              <a:t>: For saving and loading trained models. (https://joblib.readthedocs.io/en/latest/) </a:t>
            </a:r>
          </a:p>
          <a:p>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solidFill>
                  <a:srgbClr val="4EC9B0"/>
                </a:solidFill>
                <a:effectLst/>
                <a:latin typeface="Consolas" panose="020B0609020204030204" pitchFamily="49" charset="0"/>
              </a:rPr>
              <a:t>CountVectorizer</a:t>
            </a:r>
            <a:r>
              <a:rPr lang="en-US" b="1" dirty="0">
                <a:solidFill>
                  <a:srgbClr val="4EC9B0"/>
                </a:solidFill>
                <a:effectLst/>
                <a:latin typeface="Consolas" panose="020B0609020204030204" pitchFamily="49" charset="0"/>
              </a:rPr>
              <a:t> &amp; TFIDF </a:t>
            </a:r>
            <a:r>
              <a:rPr lang="en-US" b="1" dirty="0" err="1">
                <a:solidFill>
                  <a:srgbClr val="4EC9B0"/>
                </a:solidFill>
                <a:effectLst/>
                <a:latin typeface="Consolas" panose="020B0609020204030204" pitchFamily="49" charset="0"/>
              </a:rPr>
              <a:t>Vectorizor</a:t>
            </a:r>
            <a:r>
              <a:rPr lang="en-US" b="1" dirty="0">
                <a:solidFill>
                  <a:srgbClr val="4EC9B0"/>
                </a:solidFill>
                <a:effectLst/>
                <a:latin typeface="Consolas" panose="020B0609020204030204" pitchFamily="49" charset="0"/>
              </a:rPr>
              <a:t> </a:t>
            </a:r>
            <a:r>
              <a:rPr lang="en-US" b="0" dirty="0">
                <a:solidFill>
                  <a:srgbClr val="4EC9B0"/>
                </a:solidFill>
                <a:effectLst/>
                <a:latin typeface="Consolas" panose="020B0609020204030204" pitchFamily="49" charset="0"/>
              </a:rPr>
              <a:t>: These are used to convert the text data into numeric format. It use Term frequency &amp; Inverse Documents Frequency to present text in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solidFill>
                  <a:srgbClr val="DCDCAA"/>
                </a:solidFill>
                <a:effectLst/>
                <a:latin typeface="Consolas" panose="020B0609020204030204" pitchFamily="49" charset="0"/>
              </a:rPr>
              <a:t>train_test_split</a:t>
            </a:r>
            <a:r>
              <a:rPr lang="en-US" b="1" dirty="0">
                <a:solidFill>
                  <a:srgbClr val="DCDCAA"/>
                </a:solidFill>
                <a:effectLst/>
                <a:latin typeface="Consolas" panose="020B0609020204030204" pitchFamily="49" charset="0"/>
              </a:rPr>
              <a:t> </a:t>
            </a:r>
            <a:r>
              <a:rPr lang="en-US" b="0" dirty="0">
                <a:solidFill>
                  <a:srgbClr val="DCDCAA"/>
                </a:solidFill>
                <a:effectLst/>
                <a:latin typeface="Consolas" panose="020B0609020204030204" pitchFamily="49" charset="0"/>
              </a:rPr>
              <a:t>: It is used for splitting the data into training &amp; testing data</a:t>
            </a:r>
            <a:br>
              <a:rPr lang="en-US" b="0" dirty="0">
                <a:solidFill>
                  <a:srgbClr val="D4D4D4"/>
                </a:solidFill>
                <a:effectLst/>
                <a:latin typeface="Consolas" panose="020B0609020204030204" pitchFamily="49" charset="0"/>
              </a:rPr>
            </a:br>
            <a:r>
              <a:rPr lang="en-US" b="1" dirty="0" err="1">
                <a:solidFill>
                  <a:srgbClr val="DCDCAA"/>
                </a:solidFill>
                <a:effectLst/>
                <a:latin typeface="Consolas" panose="020B0609020204030204" pitchFamily="49" charset="0"/>
              </a:rPr>
              <a:t>accuracy_score</a:t>
            </a:r>
            <a:r>
              <a:rPr lang="en-US" b="1" dirty="0">
                <a:solidFill>
                  <a:srgbClr val="DCDCAA"/>
                </a:solidFill>
                <a:effectLst/>
                <a:latin typeface="Consolas" panose="020B0609020204030204" pitchFamily="49" charset="0"/>
              </a:rPr>
              <a:t> , </a:t>
            </a:r>
            <a:r>
              <a:rPr lang="en-US" b="1" dirty="0" err="1">
                <a:solidFill>
                  <a:srgbClr val="DCDCAA"/>
                </a:solidFill>
                <a:effectLst/>
                <a:latin typeface="Consolas" panose="020B0609020204030204" pitchFamily="49" charset="0"/>
              </a:rPr>
              <a:t>confusion_matrix</a:t>
            </a:r>
            <a:r>
              <a:rPr lang="en-US" b="1" dirty="0">
                <a:solidFill>
                  <a:srgbClr val="DCDCAA"/>
                </a:solidFill>
                <a:effectLst/>
                <a:latin typeface="Consolas" panose="020B0609020204030204" pitchFamily="49" charset="0"/>
              </a:rPr>
              <a:t> ,</a:t>
            </a:r>
            <a:r>
              <a:rPr lang="en-US" b="1" dirty="0" err="1">
                <a:solidFill>
                  <a:srgbClr val="DCDCAA"/>
                </a:solidFill>
                <a:effectLst/>
                <a:latin typeface="Consolas" panose="020B0609020204030204" pitchFamily="49" charset="0"/>
              </a:rPr>
              <a:t>classification_report</a:t>
            </a:r>
            <a:r>
              <a:rPr lang="en-US" b="1" dirty="0">
                <a:solidFill>
                  <a:srgbClr val="DCDCAA"/>
                </a:solidFill>
                <a:effectLst/>
                <a:latin typeface="Consolas" panose="020B0609020204030204" pitchFamily="49" charset="0"/>
              </a:rPr>
              <a:t> </a:t>
            </a:r>
            <a:r>
              <a:rPr lang="en-US" b="0" dirty="0">
                <a:solidFill>
                  <a:srgbClr val="DCDCAA"/>
                </a:solidFill>
                <a:effectLst/>
                <a:latin typeface="Consolas" panose="020B0609020204030204" pitchFamily="49" charset="0"/>
              </a:rPr>
              <a:t>: These are used to evaluate the performance of ML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CDCAA"/>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r>
              <a:rPr lang="en-US" b="0" dirty="0">
                <a:solidFill>
                  <a:srgbClr val="C586C0"/>
                </a:solidFill>
                <a:effectLst/>
                <a:latin typeface="Consolas" panose="020B0609020204030204" pitchFamily="49" charset="0"/>
              </a:rPr>
              <a:t>Following are the algorithms form Scikit-learn Library used for creating the model used for classifying the ticket description into incident type. </a:t>
            </a: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LinearSVC</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DecisionTreeClassifier</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RandomForestClassifier</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KNeighborsClassifier</a:t>
            </a:r>
            <a:r>
              <a:rPr lang="en-US" b="0" dirty="0">
                <a:solidFill>
                  <a:srgbClr val="4EC9B0"/>
                </a:solidFill>
                <a:effectLst/>
                <a:latin typeface="Consolas" panose="020B0609020204030204" pitchFamily="49" charset="0"/>
              </a:rPr>
              <a:t> :</a:t>
            </a:r>
            <a:endParaRPr lang="en-US" b="0" dirty="0">
              <a:solidFill>
                <a:srgbClr val="D4D4D4"/>
              </a:solidFill>
              <a:effectLst/>
              <a:latin typeface="Consolas" panose="020B0609020204030204" pitchFamily="49" charset="0"/>
            </a:endParaRPr>
          </a:p>
          <a:p>
            <a:pPr marL="171450" indent="-171450">
              <a:buFont typeface="Arial" panose="020B0604020202020204" pitchFamily="34" charset="0"/>
              <a:buChar char="•"/>
            </a:pPr>
            <a:r>
              <a:rPr lang="en-US" b="0" dirty="0" err="1">
                <a:solidFill>
                  <a:srgbClr val="4EC9B0"/>
                </a:solidFill>
                <a:effectLst/>
                <a:latin typeface="Consolas" panose="020B0609020204030204" pitchFamily="49" charset="0"/>
              </a:rPr>
              <a:t>MultinomialNB</a:t>
            </a: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US" dirty="0"/>
          </a:p>
        </p:txBody>
      </p:sp>
    </p:spTree>
    <p:extLst>
      <p:ext uri="{BB962C8B-B14F-4D97-AF65-F5344CB8AC3E}">
        <p14:creationId xmlns:p14="http://schemas.microsoft.com/office/powerpoint/2010/main" val="1479726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ata Pre-processing :</a:t>
            </a:r>
          </a:p>
          <a:p>
            <a:pPr marL="171450" indent="-171450">
              <a:buFont typeface="Arial" panose="020B0604020202020204" pitchFamily="34" charset="0"/>
              <a:buChar char="•"/>
            </a:pPr>
            <a:r>
              <a:rPr lang="en-US" b="0" dirty="0"/>
              <a:t>The description filed contains the descriptive information about incident.</a:t>
            </a:r>
          </a:p>
          <a:p>
            <a:pPr marL="171450" indent="-171450">
              <a:buFont typeface="Arial" panose="020B0604020202020204" pitchFamily="34" charset="0"/>
              <a:buChar char="•"/>
            </a:pPr>
            <a:r>
              <a:rPr lang="en-US" b="0" dirty="0"/>
              <a:t>This information do not have any fixed format or pattern, Hence it is challenging to extract the text describing the issue and discarding the PII information.</a:t>
            </a:r>
          </a:p>
          <a:p>
            <a:pPr marL="171450" indent="-171450">
              <a:buFont typeface="Arial" panose="020B0604020202020204" pitchFamily="34" charset="0"/>
              <a:buChar char="•"/>
            </a:pPr>
            <a:r>
              <a:rPr lang="en-US" b="0" dirty="0"/>
              <a:t>The pre-processing  steps are :</a:t>
            </a:r>
          </a:p>
          <a:p>
            <a:pPr marL="628650" lvl="1" indent="-171450">
              <a:buFont typeface="Arial" panose="020B0604020202020204" pitchFamily="34" charset="0"/>
              <a:buChar char="•"/>
            </a:pPr>
            <a:r>
              <a:rPr lang="en-US" b="0" dirty="0"/>
              <a:t>Identifying &amp; removing records without description.</a:t>
            </a:r>
          </a:p>
          <a:p>
            <a:pPr marL="628650" lvl="1" indent="-171450">
              <a:buFont typeface="Arial" panose="020B0604020202020204" pitchFamily="34" charset="0"/>
              <a:buChar char="•"/>
            </a:pPr>
            <a:r>
              <a:rPr lang="en-US" b="0" dirty="0"/>
              <a:t>Data type conversion : convert it from object to string</a:t>
            </a:r>
          </a:p>
          <a:p>
            <a:pPr marL="628650" lvl="1" indent="-171450">
              <a:buFont typeface="Arial" panose="020B0604020202020204" pitchFamily="34" charset="0"/>
              <a:buChar char="•"/>
            </a:pPr>
            <a:r>
              <a:rPr lang="en-US" b="0" dirty="0"/>
              <a:t>Remove the PII like Name, email, contact number etc.</a:t>
            </a:r>
          </a:p>
          <a:p>
            <a:pPr marL="628650" lvl="1" indent="-171450">
              <a:buFont typeface="Arial" panose="020B0604020202020204" pitchFamily="34" charset="0"/>
              <a:buChar char="•"/>
            </a:pPr>
            <a:r>
              <a:rPr lang="en-US" b="0" dirty="0"/>
              <a:t>Extract only relevant text from full description.</a:t>
            </a:r>
          </a:p>
          <a:p>
            <a:pPr marL="628650" lvl="1" indent="-171450">
              <a:buFont typeface="Arial" panose="020B0604020202020204" pitchFamily="34" charset="0"/>
              <a:buChar char="•"/>
            </a:pPr>
            <a:r>
              <a:rPr lang="en-US" b="0" dirty="0"/>
              <a:t>Clean the text to remove numbers, common stop word etc.</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dirty="0"/>
              <a:t>Following python Libraries are used :</a:t>
            </a:r>
          </a:p>
          <a:p>
            <a:pPr marL="628650" lvl="1" indent="-171450">
              <a:buFont typeface="Arial" panose="020B0604020202020204" pitchFamily="34" charset="0"/>
              <a:buChar char="•"/>
            </a:pPr>
            <a:r>
              <a:rPr lang="en-US" b="0" dirty="0"/>
              <a:t>Regex : It is used to identify the patterns in text</a:t>
            </a:r>
          </a:p>
          <a:p>
            <a:pPr marL="628650" lvl="1" indent="-171450">
              <a:buFont typeface="Arial" panose="020B0604020202020204" pitchFamily="34" charset="0"/>
              <a:buChar char="•"/>
            </a:pPr>
            <a:r>
              <a:rPr lang="en-US" b="0" dirty="0"/>
              <a:t>NLTK (Natural Language Tool kit) : It is used to remove stop words from text</a:t>
            </a:r>
          </a:p>
          <a:p>
            <a:pPr marL="628650" lvl="1" indent="-171450">
              <a:buFont typeface="Arial" panose="020B0604020202020204" pitchFamily="34" charset="0"/>
              <a:buChar char="•"/>
            </a:pPr>
            <a:r>
              <a:rPr lang="en-US" b="0" dirty="0"/>
              <a:t>Stanford NLP : This library is used for NER (named entity recognition) for ex. Name, email, phone Number </a:t>
            </a:r>
          </a:p>
        </p:txBody>
      </p:sp>
    </p:spTree>
    <p:extLst>
      <p:ext uri="{BB962C8B-B14F-4D97-AF65-F5344CB8AC3E}">
        <p14:creationId xmlns:p14="http://schemas.microsoft.com/office/powerpoint/2010/main" val="1370381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tep is used to identify , if the record is related to a change request or not.</a:t>
            </a:r>
          </a:p>
          <a:p>
            <a:pPr marL="171450" indent="-171450">
              <a:buFont typeface="Arial" panose="020B0604020202020204" pitchFamily="34" charset="0"/>
              <a:buChar char="•"/>
            </a:pPr>
            <a:r>
              <a:rPr lang="en-US" dirty="0"/>
              <a:t>This step is required to find its incident typ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 set of keywords (related to change request)  is created.</a:t>
            </a:r>
          </a:p>
          <a:p>
            <a:pPr marL="171450" indent="-171450">
              <a:buFont typeface="Arial" panose="020B0604020202020204" pitchFamily="34" charset="0"/>
              <a:buChar char="•"/>
            </a:pPr>
            <a:r>
              <a:rPr lang="en-US" dirty="0"/>
              <a:t>A record having these keywords is considered as it is related to change request.</a:t>
            </a:r>
          </a:p>
          <a:p>
            <a:endParaRPr lang="en-US" dirty="0"/>
          </a:p>
          <a:p>
            <a:r>
              <a:rPr lang="en-US" dirty="0"/>
              <a:t> </a:t>
            </a:r>
          </a:p>
        </p:txBody>
      </p:sp>
    </p:spTree>
    <p:extLst>
      <p:ext uri="{BB962C8B-B14F-4D97-AF65-F5344CB8AC3E}">
        <p14:creationId xmlns:p14="http://schemas.microsoft.com/office/powerpoint/2010/main" val="1663462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ll the change request related records can be grouped into different categories based on similarity of issue; they are related to. </a:t>
            </a:r>
          </a:p>
          <a:p>
            <a:pPr marL="171450" indent="-171450">
              <a:buFont typeface="Arial" panose="020B0604020202020204" pitchFamily="34" charset="0"/>
              <a:buChar char="•"/>
            </a:pPr>
            <a:r>
              <a:rPr lang="en-US" dirty="0"/>
              <a:t>But we do not know , how any groups can be created and what are they</a:t>
            </a:r>
          </a:p>
          <a:p>
            <a:endParaRPr lang="en-US" dirty="0"/>
          </a:p>
          <a:p>
            <a:endParaRPr lang="en-US" dirty="0"/>
          </a:p>
          <a:p>
            <a:pPr marL="171450" indent="-171450">
              <a:buFont typeface="Arial" panose="020B0604020202020204" pitchFamily="34" charset="0"/>
              <a:buChar char="•"/>
            </a:pPr>
            <a:r>
              <a:rPr lang="en-US" dirty="0"/>
              <a:t>For this processing unsupervised learning method : clustering is used.</a:t>
            </a:r>
          </a:p>
          <a:p>
            <a:endParaRPr lang="en-US" dirty="0"/>
          </a:p>
          <a:p>
            <a:pPr marL="171450" indent="-171450">
              <a:buFont typeface="Arial" panose="020B0604020202020204" pitchFamily="34" charset="0"/>
              <a:buChar char="•"/>
            </a:pPr>
            <a:r>
              <a:rPr lang="en-US" dirty="0"/>
              <a:t>To know how many groups are present in data, we use Elbow Graph method.</a:t>
            </a:r>
          </a:p>
          <a:p>
            <a:pPr marL="171450" indent="-171450">
              <a:buFont typeface="Arial" panose="020B0604020202020204" pitchFamily="34" charset="0"/>
              <a:buChar char="•"/>
            </a:pPr>
            <a:r>
              <a:rPr lang="en-US" dirty="0"/>
              <a:t>From left graph, it shows that there are 4 groups of records can be done.</a:t>
            </a:r>
          </a:p>
          <a:p>
            <a:pPr marL="171450" indent="-171450">
              <a:buFont typeface="Arial" panose="020B0604020202020204" pitchFamily="34" charset="0"/>
              <a:buChar char="•"/>
            </a:pPr>
            <a:r>
              <a:rPr lang="en-US" dirty="0"/>
              <a:t>For clustering k-means algorithm is used.</a:t>
            </a:r>
          </a:p>
          <a:p>
            <a:pPr marL="171450" indent="-171450">
              <a:buFont typeface="Arial" panose="020B0604020202020204" pitchFamily="34" charset="0"/>
              <a:buChar char="•"/>
            </a:pPr>
            <a:r>
              <a:rPr lang="en-US" dirty="0"/>
              <a:t>For k-means algorithm, all text records are converted to count of token vectors using </a:t>
            </a:r>
            <a:r>
              <a:rPr lang="en-US" dirty="0" err="1"/>
              <a:t>countvectorizer</a:t>
            </a:r>
            <a:r>
              <a:rPr lang="en-US" dirty="0"/>
              <a:t> library.</a:t>
            </a:r>
          </a:p>
          <a:p>
            <a:pPr marL="171450" indent="-171450">
              <a:buFont typeface="Arial" panose="020B0604020202020204" pitchFamily="34" charset="0"/>
              <a:buChar char="•"/>
            </a:pPr>
            <a:r>
              <a:rPr lang="en-US" dirty="0"/>
              <a:t> Based on contents of each groups , they are given with following nam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Cloud Maintenance Incid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Network Incid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Capacity Incid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latin typeface="Avenir Next" panose="020B0503020202020204" pitchFamily="34" charset="0"/>
              </a:rPr>
              <a:t>User Service Request Incident</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102051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_Bas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85676-2164-4C82-8F8F-B26C09DE390E}"/>
              </a:ext>
            </a:extLst>
          </p:cNvPr>
          <p:cNvPicPr>
            <a:picLocks noChangeAspect="1"/>
          </p:cNvPicPr>
          <p:nvPr/>
        </p:nvPicPr>
        <p:blipFill>
          <a:blip r:embed="rId2"/>
          <a:stretch>
            <a:fillRect/>
          </a:stretch>
        </p:blipFill>
        <p:spPr>
          <a:xfrm>
            <a:off x="188705" y="0"/>
            <a:ext cx="11814590" cy="6858000"/>
          </a:xfrm>
          <a:prstGeom prst="rect">
            <a:avLst/>
          </a:prstGeom>
        </p:spPr>
      </p:pic>
      <p:sp>
        <p:nvSpPr>
          <p:cNvPr id="8" name="Rectangle 7">
            <a:extLst>
              <a:ext uri="{FF2B5EF4-FFF2-40B4-BE49-F238E27FC236}">
                <a16:creationId xmlns:a16="http://schemas.microsoft.com/office/drawing/2014/main" id="{9A5B412B-EAE2-48FA-B0A4-410855AD0F7A}"/>
              </a:ext>
            </a:extLst>
          </p:cNvPr>
          <p:cNvSpPr/>
          <p:nvPr/>
        </p:nvSpPr>
        <p:spPr>
          <a:xfrm>
            <a:off x="0" y="4208753"/>
            <a:ext cx="12192000" cy="2865147"/>
          </a:xfrm>
          <a:prstGeom prst="rect">
            <a:avLst/>
          </a:prstGeom>
          <a:gradFill flip="none" rotWithShape="1">
            <a:gsLst>
              <a:gs pos="31000">
                <a:schemeClr val="bg1">
                  <a:alpha val="9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8B3A3106-6B64-4FAE-97F0-6FC8A7727291}"/>
              </a:ext>
            </a:extLst>
          </p:cNvPr>
          <p:cNvSpPr>
            <a:spLocks noGrp="1"/>
          </p:cNvSpPr>
          <p:nvPr>
            <p:ph type="ctrTitle" hasCustomPrompt="1"/>
          </p:nvPr>
        </p:nvSpPr>
        <p:spPr>
          <a:xfrm>
            <a:off x="290773" y="5656553"/>
            <a:ext cx="11610454" cy="590931"/>
          </a:xfrm>
          <a:prstGeom prst="rect">
            <a:avLst/>
          </a:prstGeom>
        </p:spPr>
        <p:txBody>
          <a:bodyPr anchor="ctr">
            <a:spAutoFit/>
          </a:bodyPr>
          <a:lstStyle>
            <a:lvl1pPr algn="ctr">
              <a:defRPr sz="3600"/>
            </a:lvl1pPr>
          </a:lstStyle>
          <a:p>
            <a:r>
              <a:rPr lang="en-US"/>
              <a:t>CLICK TO EDIT MASTER TITLE STYLE</a:t>
            </a:r>
          </a:p>
        </p:txBody>
      </p:sp>
      <p:sp>
        <p:nvSpPr>
          <p:cNvPr id="10" name="Subtitle 2">
            <a:extLst>
              <a:ext uri="{FF2B5EF4-FFF2-40B4-BE49-F238E27FC236}">
                <a16:creationId xmlns:a16="http://schemas.microsoft.com/office/drawing/2014/main" id="{7F9F79B7-C348-4A5F-8D41-863D9B0D0385}"/>
              </a:ext>
            </a:extLst>
          </p:cNvPr>
          <p:cNvSpPr>
            <a:spLocks noGrp="1"/>
          </p:cNvSpPr>
          <p:nvPr>
            <p:ph type="subTitle" idx="1"/>
          </p:nvPr>
        </p:nvSpPr>
        <p:spPr>
          <a:xfrm>
            <a:off x="290773" y="6280872"/>
            <a:ext cx="11610454" cy="286232"/>
          </a:xfrm>
          <a:prstGeom prst="rect">
            <a:avLst/>
          </a:prstGeom>
        </p:spPr>
        <p:txBody>
          <a:bodyPr>
            <a:spAutoFit/>
          </a:bodyPr>
          <a:lstStyle>
            <a:lvl1pPr marL="0" indent="0" algn="ctr">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descr="PNG(1).png">
            <a:extLst>
              <a:ext uri="{FF2B5EF4-FFF2-40B4-BE49-F238E27FC236}">
                <a16:creationId xmlns:a16="http://schemas.microsoft.com/office/drawing/2014/main" id="{B35576C1-00C8-412A-8B20-788FCC7FCF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57775" y="290896"/>
            <a:ext cx="3443452" cy="561714"/>
          </a:xfrm>
          <a:prstGeom prst="rect">
            <a:avLst/>
          </a:prstGeom>
        </p:spPr>
      </p:pic>
    </p:spTree>
    <p:extLst>
      <p:ext uri="{BB962C8B-B14F-4D97-AF65-F5344CB8AC3E}">
        <p14:creationId xmlns:p14="http://schemas.microsoft.com/office/powerpoint/2010/main" val="19324605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9900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83EEF3-6978-4238-9CDB-7E266F3F9D5F}"/>
              </a:ext>
            </a:extLst>
          </p:cNvPr>
          <p:cNvSpPr txBox="1"/>
          <p:nvPr/>
        </p:nvSpPr>
        <p:spPr>
          <a:xfrm>
            <a:off x="2747269" y="2559702"/>
            <a:ext cx="6277147" cy="1323439"/>
          </a:xfrm>
          <a:prstGeom prst="rect">
            <a:avLst/>
          </a:prstGeom>
          <a:noFill/>
        </p:spPr>
        <p:txBody>
          <a:bodyPr wrap="square" rtlCol="0">
            <a:spAutoFit/>
          </a:bodyPr>
          <a:lstStyle/>
          <a:p>
            <a:pPr algn="ctr"/>
            <a:r>
              <a:rPr lang="en-US" sz="8000" b="0">
                <a:solidFill>
                  <a:srgbClr val="FF6700"/>
                </a:solidFill>
                <a:latin typeface="Calibri" panose="020F0502020204030204" pitchFamily="34" charset="0"/>
                <a:cs typeface="Calibri" panose="020F0502020204030204" pitchFamily="34" charset="0"/>
              </a:rPr>
              <a:t>THANK </a:t>
            </a:r>
            <a:r>
              <a:rPr lang="en-US" sz="8000" b="0">
                <a:solidFill>
                  <a:srgbClr val="013E7D"/>
                </a:solidFill>
                <a:latin typeface="Calibri" panose="020F0502020204030204" pitchFamily="34" charset="0"/>
                <a:cs typeface="Calibri" panose="020F0502020204030204" pitchFamily="34" charset="0"/>
              </a:rPr>
              <a:t>YOU</a:t>
            </a:r>
          </a:p>
        </p:txBody>
      </p:sp>
      <p:sp>
        <p:nvSpPr>
          <p:cNvPr id="4" name="Rectangle 3">
            <a:extLst>
              <a:ext uri="{FF2B5EF4-FFF2-40B4-BE49-F238E27FC236}">
                <a16:creationId xmlns:a16="http://schemas.microsoft.com/office/drawing/2014/main" id="{0AF9A946-1283-4F6E-9747-665065AFD1B0}"/>
              </a:ext>
            </a:extLst>
          </p:cNvPr>
          <p:cNvSpPr/>
          <p:nvPr/>
        </p:nvSpPr>
        <p:spPr>
          <a:xfrm>
            <a:off x="2324100" y="2226213"/>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41ACCEB-89FF-4003-B513-914FF6C19955}"/>
              </a:ext>
            </a:extLst>
          </p:cNvPr>
          <p:cNvSpPr/>
          <p:nvPr/>
        </p:nvSpPr>
        <p:spPr>
          <a:xfrm rot="5400000">
            <a:off x="2895528" y="1700577"/>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52F642-8850-4EE6-920D-0A4B60A6ED29}"/>
              </a:ext>
            </a:extLst>
          </p:cNvPr>
          <p:cNvSpPr/>
          <p:nvPr/>
        </p:nvSpPr>
        <p:spPr>
          <a:xfrm rot="5400000">
            <a:off x="8846820" y="3589164"/>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471B1DB-2FAA-407E-AD9E-2919F74C0081}"/>
              </a:ext>
            </a:extLst>
          </p:cNvPr>
          <p:cNvSpPr/>
          <p:nvPr/>
        </p:nvSpPr>
        <p:spPr>
          <a:xfrm rot="10800000">
            <a:off x="9418248" y="3063528"/>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2A6C3F1-CBB5-4EC8-9734-2B2F6BBF2AC1}"/>
              </a:ext>
            </a:extLst>
          </p:cNvPr>
          <p:cNvSpPr/>
          <p:nvPr/>
        </p:nvSpPr>
        <p:spPr>
          <a:xfrm>
            <a:off x="2270125" y="2060576"/>
            <a:ext cx="107950" cy="1142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CE522A-3208-4CE6-9EB5-0A3E41983D17}"/>
              </a:ext>
            </a:extLst>
          </p:cNvPr>
          <p:cNvSpPr/>
          <p:nvPr/>
        </p:nvSpPr>
        <p:spPr>
          <a:xfrm>
            <a:off x="2133600" y="2156624"/>
            <a:ext cx="88900" cy="936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B9A1365-5ABB-4D03-A8D5-07ECC7BD4D43}"/>
              </a:ext>
            </a:extLst>
          </p:cNvPr>
          <p:cNvSpPr/>
          <p:nvPr/>
        </p:nvSpPr>
        <p:spPr>
          <a:xfrm>
            <a:off x="2239847" y="2262497"/>
            <a:ext cx="55793" cy="70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96B89A3-1B01-4040-AC16-4B754923EB3D}"/>
              </a:ext>
            </a:extLst>
          </p:cNvPr>
          <p:cNvSpPr/>
          <p:nvPr/>
        </p:nvSpPr>
        <p:spPr>
          <a:xfrm>
            <a:off x="9857800" y="3845041"/>
            <a:ext cx="349420" cy="3698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8B80E91-5AA4-42C9-909A-7DDC98B39445}"/>
              </a:ext>
            </a:extLst>
          </p:cNvPr>
          <p:cNvSpPr/>
          <p:nvPr/>
        </p:nvSpPr>
        <p:spPr>
          <a:xfrm>
            <a:off x="9467956" y="4161287"/>
            <a:ext cx="287758" cy="3032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3BCB0F-72B3-4BE8-BBF1-73D8E42B6B1E}"/>
              </a:ext>
            </a:extLst>
          </p:cNvPr>
          <p:cNvSpPr/>
          <p:nvPr/>
        </p:nvSpPr>
        <p:spPr>
          <a:xfrm>
            <a:off x="9780202" y="4506394"/>
            <a:ext cx="180595" cy="228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ECAF6ED-9A92-47F3-832E-DE621B3C141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3242"/>
            <a:ext cx="12192000" cy="6861242"/>
          </a:xfrm>
          <a:prstGeom prst="rect">
            <a:avLst/>
          </a:prstGeom>
        </p:spPr>
      </p:pic>
    </p:spTree>
    <p:extLst>
      <p:ext uri="{BB962C8B-B14F-4D97-AF65-F5344CB8AC3E}">
        <p14:creationId xmlns:p14="http://schemas.microsoft.com/office/powerpoint/2010/main" val="1530781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_Bas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85676-2164-4C82-8F8F-B26C09DE390E}"/>
              </a:ext>
            </a:extLst>
          </p:cNvPr>
          <p:cNvPicPr>
            <a:picLocks noChangeAspect="1"/>
          </p:cNvPicPr>
          <p:nvPr userDrawn="1"/>
        </p:nvPicPr>
        <p:blipFill>
          <a:blip r:embed="rId2"/>
          <a:stretch>
            <a:fillRect/>
          </a:stretch>
        </p:blipFill>
        <p:spPr>
          <a:xfrm>
            <a:off x="188705" y="0"/>
            <a:ext cx="11814590" cy="6858000"/>
          </a:xfrm>
          <a:prstGeom prst="rect">
            <a:avLst/>
          </a:prstGeom>
        </p:spPr>
      </p:pic>
      <p:sp>
        <p:nvSpPr>
          <p:cNvPr id="8" name="Rectangle 7">
            <a:extLst>
              <a:ext uri="{FF2B5EF4-FFF2-40B4-BE49-F238E27FC236}">
                <a16:creationId xmlns:a16="http://schemas.microsoft.com/office/drawing/2014/main" id="{9A5B412B-EAE2-48FA-B0A4-410855AD0F7A}"/>
              </a:ext>
            </a:extLst>
          </p:cNvPr>
          <p:cNvSpPr/>
          <p:nvPr userDrawn="1"/>
        </p:nvSpPr>
        <p:spPr>
          <a:xfrm>
            <a:off x="0" y="4208753"/>
            <a:ext cx="12192000" cy="2865147"/>
          </a:xfrm>
          <a:prstGeom prst="rect">
            <a:avLst/>
          </a:prstGeom>
          <a:gradFill flip="none" rotWithShape="1">
            <a:gsLst>
              <a:gs pos="31000">
                <a:schemeClr val="bg1">
                  <a:alpha val="9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8B3A3106-6B64-4FAE-97F0-6FC8A7727291}"/>
              </a:ext>
            </a:extLst>
          </p:cNvPr>
          <p:cNvSpPr>
            <a:spLocks noGrp="1"/>
          </p:cNvSpPr>
          <p:nvPr>
            <p:ph type="ctrTitle" hasCustomPrompt="1"/>
          </p:nvPr>
        </p:nvSpPr>
        <p:spPr>
          <a:xfrm>
            <a:off x="290773" y="5656553"/>
            <a:ext cx="11610454" cy="590931"/>
          </a:xfrm>
          <a:prstGeom prst="rect">
            <a:avLst/>
          </a:prstGeom>
        </p:spPr>
        <p:txBody>
          <a:bodyPr anchor="ctr">
            <a:spAutoFit/>
          </a:bodyPr>
          <a:lstStyle>
            <a:lvl1pPr algn="ctr">
              <a:defRPr sz="3600"/>
            </a:lvl1pPr>
          </a:lstStyle>
          <a:p>
            <a:r>
              <a:rPr lang="en-US"/>
              <a:t>CLICK TO EDIT MASTER TITLE STYLE</a:t>
            </a:r>
          </a:p>
        </p:txBody>
      </p:sp>
      <p:sp>
        <p:nvSpPr>
          <p:cNvPr id="10" name="Subtitle 2">
            <a:extLst>
              <a:ext uri="{FF2B5EF4-FFF2-40B4-BE49-F238E27FC236}">
                <a16:creationId xmlns:a16="http://schemas.microsoft.com/office/drawing/2014/main" id="{7F9F79B7-C348-4A5F-8D41-863D9B0D0385}"/>
              </a:ext>
            </a:extLst>
          </p:cNvPr>
          <p:cNvSpPr>
            <a:spLocks noGrp="1"/>
          </p:cNvSpPr>
          <p:nvPr>
            <p:ph type="subTitle" idx="1"/>
          </p:nvPr>
        </p:nvSpPr>
        <p:spPr>
          <a:xfrm>
            <a:off x="290773" y="6280872"/>
            <a:ext cx="11610454" cy="286232"/>
          </a:xfrm>
          <a:prstGeom prst="rect">
            <a:avLst/>
          </a:prstGeom>
        </p:spPr>
        <p:txBody>
          <a:bodyPr>
            <a:spAutoFit/>
          </a:bodyPr>
          <a:lstStyle>
            <a:lvl1pPr marL="0" indent="0" algn="ctr">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descr="PNG(1).png">
            <a:extLst>
              <a:ext uri="{FF2B5EF4-FFF2-40B4-BE49-F238E27FC236}">
                <a16:creationId xmlns:a16="http://schemas.microsoft.com/office/drawing/2014/main" id="{B35576C1-00C8-412A-8B20-788FCC7FCF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457775" y="290896"/>
            <a:ext cx="3443452" cy="561714"/>
          </a:xfrm>
          <a:prstGeom prst="rect">
            <a:avLst/>
          </a:prstGeom>
        </p:spPr>
      </p:pic>
    </p:spTree>
    <p:extLst>
      <p:ext uri="{BB962C8B-B14F-4D97-AF65-F5344CB8AC3E}">
        <p14:creationId xmlns:p14="http://schemas.microsoft.com/office/powerpoint/2010/main" val="1932460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_Agend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7057F5-E684-4EB2-8C4B-1190402765F7}"/>
              </a:ext>
            </a:extLst>
          </p:cNvPr>
          <p:cNvPicPr>
            <a:picLocks noChangeAspect="1"/>
          </p:cNvPicPr>
          <p:nvPr userDrawn="1"/>
        </p:nvPicPr>
        <p:blipFill>
          <a:blip r:embed="rId2"/>
          <a:stretch>
            <a:fillRect/>
          </a:stretch>
        </p:blipFill>
        <p:spPr>
          <a:xfrm>
            <a:off x="0" y="8018"/>
            <a:ext cx="12192000" cy="6841964"/>
          </a:xfrm>
          <a:prstGeom prst="rect">
            <a:avLst/>
          </a:prstGeom>
        </p:spPr>
      </p:pic>
      <p:sp>
        <p:nvSpPr>
          <p:cNvPr id="4" name="Rectangle 3">
            <a:extLst>
              <a:ext uri="{FF2B5EF4-FFF2-40B4-BE49-F238E27FC236}">
                <a16:creationId xmlns:a16="http://schemas.microsoft.com/office/drawing/2014/main" id="{C113FD49-FC5B-47F1-8CA1-2A8654288FA7}"/>
              </a:ext>
            </a:extLst>
          </p:cNvPr>
          <p:cNvSpPr/>
          <p:nvPr userDrawn="1"/>
        </p:nvSpPr>
        <p:spPr>
          <a:xfrm flipH="1">
            <a:off x="-20940" y="8018"/>
            <a:ext cx="12212940" cy="6858001"/>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7979" tIns="83989" rIns="167979" bIns="83989" numCol="1" spcCol="0" rtlCol="0" fromWordArt="0" anchor="ctr" anchorCtr="0" forceAA="0" compatLnSpc="1">
            <a:prstTxWarp prst="textNoShape">
              <a:avLst/>
            </a:prstTxWarp>
            <a:noAutofit/>
          </a:bodyPr>
          <a:lstStyle/>
          <a:p>
            <a:pPr marL="0" marR="0" lvl="0" indent="0" algn="l" defTabSz="877011"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white"/>
              </a:solidFill>
              <a:effectLst/>
              <a:uLnTx/>
              <a:uFillTx/>
              <a:latin typeface="Arial"/>
              <a:ea typeface="+mn-ea"/>
              <a:cs typeface="Arial"/>
            </a:endParaRPr>
          </a:p>
        </p:txBody>
      </p:sp>
      <p:sp>
        <p:nvSpPr>
          <p:cNvPr id="5" name="TextBox 4">
            <a:extLst>
              <a:ext uri="{FF2B5EF4-FFF2-40B4-BE49-F238E27FC236}">
                <a16:creationId xmlns:a16="http://schemas.microsoft.com/office/drawing/2014/main" id="{9F5C8AB8-4B88-4AF4-8007-F210529CA332}"/>
              </a:ext>
            </a:extLst>
          </p:cNvPr>
          <p:cNvSpPr txBox="1"/>
          <p:nvPr userDrawn="1"/>
        </p:nvSpPr>
        <p:spPr>
          <a:xfrm>
            <a:off x="13191744" y="1011937"/>
            <a:ext cx="65" cy="246221"/>
          </a:xfrm>
          <a:prstGeom prst="rect">
            <a:avLst/>
          </a:prstGeom>
          <a:noFill/>
        </p:spPr>
        <p:txBody>
          <a:bodyPr wrap="none" lIns="0" tIns="0" rIns="0" bIns="0" rtlCol="0">
            <a:spAutoFit/>
          </a:bodyPr>
          <a:lstStyle/>
          <a:p>
            <a:pPr marL="0" marR="0" lvl="0" indent="0" algn="l" defTabSz="877011" rtl="0" eaLnBrk="1" fontAlgn="auto" latinLnBrk="0" hangingPunct="1">
              <a:lnSpc>
                <a:spcPct val="100000"/>
              </a:lnSpc>
              <a:spcBef>
                <a:spcPts val="1067"/>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02C9E405-3A9E-4FAB-B208-836C9A889697}"/>
              </a:ext>
            </a:extLst>
          </p:cNvPr>
          <p:cNvPicPr>
            <a:picLocks noChangeAspect="1"/>
          </p:cNvPicPr>
          <p:nvPr userDrawn="1"/>
        </p:nvPicPr>
        <p:blipFill>
          <a:blip r:embed="rId3"/>
          <a:stretch>
            <a:fillRect/>
          </a:stretch>
        </p:blipFill>
        <p:spPr>
          <a:xfrm>
            <a:off x="10313249" y="445568"/>
            <a:ext cx="1304925" cy="1257300"/>
          </a:xfrm>
          <a:prstGeom prst="rect">
            <a:avLst/>
          </a:prstGeom>
        </p:spPr>
      </p:pic>
      <p:sp>
        <p:nvSpPr>
          <p:cNvPr id="7" name="Text Placeholder 12">
            <a:extLst>
              <a:ext uri="{FF2B5EF4-FFF2-40B4-BE49-F238E27FC236}">
                <a16:creationId xmlns:a16="http://schemas.microsoft.com/office/drawing/2014/main" id="{507754B0-4950-4B7F-90C1-63B1DE6E6EAF}"/>
              </a:ext>
            </a:extLst>
          </p:cNvPr>
          <p:cNvSpPr>
            <a:spLocks noGrp="1"/>
          </p:cNvSpPr>
          <p:nvPr>
            <p:ph type="body" sz="quarter" idx="10" hasCustomPrompt="1"/>
          </p:nvPr>
        </p:nvSpPr>
        <p:spPr>
          <a:xfrm>
            <a:off x="378556" y="2107290"/>
            <a:ext cx="11478043" cy="695196"/>
          </a:xfrm>
          <a:prstGeom prst="rect">
            <a:avLst/>
          </a:prstGeom>
        </p:spPr>
        <p:txBody>
          <a:bodyPr anchor="ctr">
            <a:normAutofit/>
          </a:bodyPr>
          <a:lstStyle>
            <a:lvl1pPr marL="0" indent="0" algn="ctr">
              <a:buNone/>
              <a:defRPr sz="4400" b="1">
                <a:solidFill>
                  <a:schemeClr val="accent2"/>
                </a:solidFill>
                <a:latin typeface="+mj-lt"/>
              </a:defRPr>
            </a:lvl1pPr>
          </a:lstStyle>
          <a:p>
            <a:pPr lvl="0"/>
            <a:r>
              <a:rPr lang="en-US"/>
              <a:t>Click to Edit Title</a:t>
            </a:r>
          </a:p>
        </p:txBody>
      </p:sp>
      <p:sp>
        <p:nvSpPr>
          <p:cNvPr id="8" name="Text Placeholder 12">
            <a:extLst>
              <a:ext uri="{FF2B5EF4-FFF2-40B4-BE49-F238E27FC236}">
                <a16:creationId xmlns:a16="http://schemas.microsoft.com/office/drawing/2014/main" id="{10DB5F62-9097-4208-8A6D-3E1B65365F8B}"/>
              </a:ext>
            </a:extLst>
          </p:cNvPr>
          <p:cNvSpPr>
            <a:spLocks noGrp="1"/>
          </p:cNvSpPr>
          <p:nvPr>
            <p:ph type="body" sz="quarter" idx="11" hasCustomPrompt="1"/>
          </p:nvPr>
        </p:nvSpPr>
        <p:spPr>
          <a:xfrm>
            <a:off x="1212271" y="2802486"/>
            <a:ext cx="9810612" cy="371903"/>
          </a:xfrm>
          <a:prstGeom prst="rect">
            <a:avLst/>
          </a:prstGeom>
        </p:spPr>
        <p:txBody>
          <a:bodyPr anchor="ctr">
            <a:normAutofit/>
          </a:bodyPr>
          <a:lstStyle>
            <a:lvl1pPr marL="0" indent="0" algn="ctr">
              <a:buNone/>
              <a:defRPr sz="2000" b="0">
                <a:solidFill>
                  <a:schemeClr val="tx1"/>
                </a:solidFill>
                <a:latin typeface="+mj-lt"/>
              </a:defRPr>
            </a:lvl1pPr>
          </a:lstStyle>
          <a:p>
            <a:pPr lvl="0"/>
            <a:r>
              <a:rPr lang="en-US"/>
              <a:t>Click to Enter Date</a:t>
            </a:r>
          </a:p>
        </p:txBody>
      </p:sp>
      <p:sp>
        <p:nvSpPr>
          <p:cNvPr id="9" name="Picture Placeholder 17">
            <a:extLst>
              <a:ext uri="{FF2B5EF4-FFF2-40B4-BE49-F238E27FC236}">
                <a16:creationId xmlns:a16="http://schemas.microsoft.com/office/drawing/2014/main" id="{C34A9DC4-DD3F-4ED3-BDB5-CCD046A7D6D8}"/>
              </a:ext>
            </a:extLst>
          </p:cNvPr>
          <p:cNvSpPr>
            <a:spLocks noGrp="1"/>
          </p:cNvSpPr>
          <p:nvPr>
            <p:ph type="pic" sz="quarter" idx="13" hasCustomPrompt="1"/>
          </p:nvPr>
        </p:nvSpPr>
        <p:spPr>
          <a:xfrm>
            <a:off x="573826" y="466703"/>
            <a:ext cx="2216324" cy="1173884"/>
          </a:xfrm>
          <a:prstGeom prst="rect">
            <a:avLst/>
          </a:prstGeom>
        </p:spPr>
        <p:txBody>
          <a:bodyPr/>
          <a:lstStyle>
            <a:lvl1pPr marL="0" indent="0" algn="ctr">
              <a:buNone/>
              <a:defRPr>
                <a:solidFill>
                  <a:schemeClr val="bg1"/>
                </a:solidFill>
              </a:defRPr>
            </a:lvl1pPr>
          </a:lstStyle>
          <a:p>
            <a:r>
              <a:rPr lang="en-US"/>
              <a:t>Inter Client Logo</a:t>
            </a:r>
          </a:p>
        </p:txBody>
      </p:sp>
      <p:sp>
        <p:nvSpPr>
          <p:cNvPr id="11" name="Text Placeholder 15">
            <a:extLst>
              <a:ext uri="{FF2B5EF4-FFF2-40B4-BE49-F238E27FC236}">
                <a16:creationId xmlns:a16="http://schemas.microsoft.com/office/drawing/2014/main" id="{145A6798-E084-4946-952E-170E0E46F0C2}"/>
              </a:ext>
            </a:extLst>
          </p:cNvPr>
          <p:cNvSpPr>
            <a:spLocks noGrp="1"/>
          </p:cNvSpPr>
          <p:nvPr>
            <p:ph type="body" sz="quarter" idx="12" hasCustomPrompt="1"/>
          </p:nvPr>
        </p:nvSpPr>
        <p:spPr>
          <a:xfrm>
            <a:off x="3489887" y="3864597"/>
            <a:ext cx="5451982" cy="2128788"/>
          </a:xfrm>
          <a:prstGeom prst="rect">
            <a:avLst/>
          </a:prstGeom>
          <a:solidFill>
            <a:schemeClr val="bg1">
              <a:alpha val="80000"/>
            </a:schemeClr>
          </a:solidFill>
        </p:spPr>
        <p:txBody>
          <a:bodyPr lIns="274320" tIns="182880" rIns="274320" bIns="182880">
            <a:spAutoFit/>
          </a:bodyPr>
          <a:lstStyle>
            <a:lvl1pPr marL="285750" indent="-285750">
              <a:buFont typeface="Wingdings" panose="05000000000000000000" pitchFamily="2" charset="2"/>
              <a:buChar char="v"/>
              <a:defRPr sz="1800">
                <a:solidFill>
                  <a:schemeClr val="bg2">
                    <a:lumMod val="75000"/>
                  </a:schemeClr>
                </a:solidFill>
                <a:latin typeface="+mn-lt"/>
                <a:cs typeface="Calibri" panose="020F0502020204030204" pitchFamily="34" charset="0"/>
              </a:defRPr>
            </a:lvl1pPr>
          </a:lstStyle>
          <a:p>
            <a:pPr lvl="0"/>
            <a:r>
              <a:rPr lang="en-US"/>
              <a:t>Topic 1</a:t>
            </a:r>
          </a:p>
          <a:p>
            <a:pPr lvl="0"/>
            <a:r>
              <a:rPr lang="en-US"/>
              <a:t>Topic 2</a:t>
            </a:r>
          </a:p>
          <a:p>
            <a:pPr lvl="0"/>
            <a:r>
              <a:rPr lang="en-US"/>
              <a:t>Topic 3</a:t>
            </a:r>
          </a:p>
          <a:p>
            <a:pPr lvl="0"/>
            <a:r>
              <a:rPr lang="en-US"/>
              <a:t>Topic 4</a:t>
            </a:r>
          </a:p>
          <a:p>
            <a:pPr lvl="0"/>
            <a:r>
              <a:rPr lang="en-US"/>
              <a:t>Topic 5</a:t>
            </a:r>
          </a:p>
        </p:txBody>
      </p:sp>
    </p:spTree>
    <p:extLst>
      <p:ext uri="{BB962C8B-B14F-4D97-AF65-F5344CB8AC3E}">
        <p14:creationId xmlns:p14="http://schemas.microsoft.com/office/powerpoint/2010/main" val="9531454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91004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885524" y="1184515"/>
            <a:ext cx="10491537" cy="5100782"/>
          </a:xfrm>
          <a:prstGeom prst="rect">
            <a:avLst/>
          </a:prstGeom>
        </p:spPr>
        <p:txBody>
          <a:bodyPr>
            <a:noAutofit/>
          </a:bodyPr>
          <a:lstStyle>
            <a:lvl1pPr>
              <a:defRPr sz="2000">
                <a:solidFill>
                  <a:schemeClr val="bg2">
                    <a:lumMod val="75000"/>
                  </a:schemeClr>
                </a:solidFill>
              </a:defRPr>
            </a:lvl1pPr>
            <a:lvl2pPr>
              <a:defRPr sz="1800">
                <a:solidFill>
                  <a:schemeClr val="bg2">
                    <a:lumMod val="75000"/>
                  </a:schemeClr>
                </a:solidFill>
              </a:defRPr>
            </a:lvl2pPr>
            <a:lvl3pPr>
              <a:defRPr sz="1800">
                <a:solidFill>
                  <a:schemeClr val="bg2">
                    <a:lumMod val="75000"/>
                  </a:schemeClr>
                </a:solidFill>
              </a:defRPr>
            </a:lvl3pPr>
            <a:lvl4pPr>
              <a:defRPr sz="16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1">
            <a:extLst>
              <a:ext uri="{FF2B5EF4-FFF2-40B4-BE49-F238E27FC236}">
                <a16:creationId xmlns:a16="http://schemas.microsoft.com/office/drawing/2014/main" id="{DDFE21BF-5132-4BE3-A839-ECBE15D8B0CF}"/>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653112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_Compact">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0B76702-9F6D-4AAA-9C24-7FE2CA8BEE9E}"/>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88578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1780675" y="1944304"/>
            <a:ext cx="8566484" cy="3359216"/>
          </a:xfrm>
          <a:prstGeom prst="rect">
            <a:avLst/>
          </a:prstGeom>
        </p:spPr>
        <p:txBody>
          <a:bodyPr>
            <a:noAutofit/>
          </a:bodyPr>
          <a:lstStyle>
            <a:lvl1pPr>
              <a:defRPr sz="2400">
                <a:solidFill>
                  <a:schemeClr val="bg2">
                    <a:lumMod val="75000"/>
                  </a:schemeClr>
                </a:solidFill>
              </a:defRPr>
            </a:lvl1pPr>
            <a:lvl2pPr>
              <a:defRPr sz="2200">
                <a:solidFill>
                  <a:schemeClr val="bg2">
                    <a:lumMod val="75000"/>
                  </a:schemeClr>
                </a:solidFill>
              </a:defRPr>
            </a:lvl2pPr>
            <a:lvl3pPr>
              <a:defRPr sz="2000">
                <a:solidFill>
                  <a:schemeClr val="bg2">
                    <a:lumMod val="75000"/>
                  </a:schemeClr>
                </a:solidFill>
              </a:defRPr>
            </a:lvl3pPr>
            <a:lvl4pPr>
              <a:defRPr sz="18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469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1">
            <a:extLst>
              <a:ext uri="{FF2B5EF4-FFF2-40B4-BE49-F238E27FC236}">
                <a16:creationId xmlns:a16="http://schemas.microsoft.com/office/drawing/2014/main" id="{93069341-8A63-4F4B-8D64-C3EEB1D0E854}"/>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3272670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Area">
    <p:spTree>
      <p:nvGrpSpPr>
        <p:cNvPr id="1" name=""/>
        <p:cNvGrpSpPr/>
        <p:nvPr/>
      </p:nvGrpSpPr>
      <p:grpSpPr>
        <a:xfrm>
          <a:off x="0" y="0"/>
          <a:ext cx="0" cy="0"/>
          <a:chOff x="0" y="0"/>
          <a:chExt cx="0" cy="0"/>
        </a:xfrm>
      </p:grpSpPr>
      <p:sp>
        <p:nvSpPr>
          <p:cNvPr id="3" name="Text Placeholder 28">
            <a:extLst>
              <a:ext uri="{FF2B5EF4-FFF2-40B4-BE49-F238E27FC236}">
                <a16:creationId xmlns:a16="http://schemas.microsoft.com/office/drawing/2014/main" id="{724D9955-0283-47AD-9971-949722A0608D}"/>
              </a:ext>
            </a:extLst>
          </p:cNvPr>
          <p:cNvSpPr>
            <a:spLocks noGrp="1"/>
          </p:cNvSpPr>
          <p:nvPr>
            <p:ph type="body" sz="quarter" idx="10"/>
          </p:nvPr>
        </p:nvSpPr>
        <p:spPr>
          <a:xfrm>
            <a:off x="602673"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2">
            <a:extLst>
              <a:ext uri="{FF2B5EF4-FFF2-40B4-BE49-F238E27FC236}">
                <a16:creationId xmlns:a16="http://schemas.microsoft.com/office/drawing/2014/main" id="{FC7F0345-AC3D-410C-B0A9-CF73FCB7F474}"/>
              </a:ext>
            </a:extLst>
          </p:cNvPr>
          <p:cNvSpPr>
            <a:spLocks noGrp="1"/>
          </p:cNvSpPr>
          <p:nvPr>
            <p:ph type="body" sz="quarter" idx="12" hasCustomPrompt="1"/>
          </p:nvPr>
        </p:nvSpPr>
        <p:spPr>
          <a:xfrm>
            <a:off x="602673" y="1249558"/>
            <a:ext cx="3429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6" name="Text Placeholder 32">
            <a:extLst>
              <a:ext uri="{FF2B5EF4-FFF2-40B4-BE49-F238E27FC236}">
                <a16:creationId xmlns:a16="http://schemas.microsoft.com/office/drawing/2014/main" id="{33CFCB20-6807-45CA-8564-19E3309F8F53}"/>
              </a:ext>
            </a:extLst>
          </p:cNvPr>
          <p:cNvSpPr>
            <a:spLocks noGrp="1"/>
          </p:cNvSpPr>
          <p:nvPr>
            <p:ph type="body" sz="quarter" idx="13" hasCustomPrompt="1"/>
          </p:nvPr>
        </p:nvSpPr>
        <p:spPr>
          <a:xfrm>
            <a:off x="4269520" y="1249558"/>
            <a:ext cx="3429000" cy="731520"/>
          </a:xfrm>
          <a:prstGeom prst="rect">
            <a:avLst/>
          </a:prstGeom>
          <a:solidFill>
            <a:schemeClr val="accent3"/>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7" name="Text Placeholder 32">
            <a:extLst>
              <a:ext uri="{FF2B5EF4-FFF2-40B4-BE49-F238E27FC236}">
                <a16:creationId xmlns:a16="http://schemas.microsoft.com/office/drawing/2014/main" id="{02B42338-61A8-4011-B494-5ED8D1255505}"/>
              </a:ext>
            </a:extLst>
          </p:cNvPr>
          <p:cNvSpPr>
            <a:spLocks noGrp="1"/>
          </p:cNvSpPr>
          <p:nvPr>
            <p:ph type="body" sz="quarter" idx="14" hasCustomPrompt="1"/>
          </p:nvPr>
        </p:nvSpPr>
        <p:spPr>
          <a:xfrm>
            <a:off x="7936367" y="1249558"/>
            <a:ext cx="3429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3</a:t>
            </a:r>
          </a:p>
        </p:txBody>
      </p:sp>
      <p:sp>
        <p:nvSpPr>
          <p:cNvPr id="8" name="Text Placeholder 28">
            <a:extLst>
              <a:ext uri="{FF2B5EF4-FFF2-40B4-BE49-F238E27FC236}">
                <a16:creationId xmlns:a16="http://schemas.microsoft.com/office/drawing/2014/main" id="{78F4C7A6-C684-42FA-ACDD-0EB5664804D9}"/>
              </a:ext>
            </a:extLst>
          </p:cNvPr>
          <p:cNvSpPr>
            <a:spLocks noGrp="1"/>
          </p:cNvSpPr>
          <p:nvPr>
            <p:ph type="body" sz="quarter" idx="15"/>
          </p:nvPr>
        </p:nvSpPr>
        <p:spPr>
          <a:xfrm>
            <a:off x="4269520"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8">
            <a:extLst>
              <a:ext uri="{FF2B5EF4-FFF2-40B4-BE49-F238E27FC236}">
                <a16:creationId xmlns:a16="http://schemas.microsoft.com/office/drawing/2014/main" id="{C6649310-DCF7-4267-A9BD-096D2924923F}"/>
              </a:ext>
            </a:extLst>
          </p:cNvPr>
          <p:cNvSpPr>
            <a:spLocks noGrp="1"/>
          </p:cNvSpPr>
          <p:nvPr>
            <p:ph type="body" sz="quarter" idx="16"/>
          </p:nvPr>
        </p:nvSpPr>
        <p:spPr>
          <a:xfrm>
            <a:off x="7936367"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1">
            <a:extLst>
              <a:ext uri="{FF2B5EF4-FFF2-40B4-BE49-F238E27FC236}">
                <a16:creationId xmlns:a16="http://schemas.microsoft.com/office/drawing/2014/main" id="{9C601A7C-2FDA-412E-BA42-148189F74F67}"/>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407974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Are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91698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28">
            <a:extLst>
              <a:ext uri="{FF2B5EF4-FFF2-40B4-BE49-F238E27FC236}">
                <a16:creationId xmlns:a16="http://schemas.microsoft.com/office/drawing/2014/main" id="{CBCA4D4E-FE17-4453-990F-769E721FF022}"/>
              </a:ext>
            </a:extLst>
          </p:cNvPr>
          <p:cNvSpPr>
            <a:spLocks noGrp="1"/>
          </p:cNvSpPr>
          <p:nvPr>
            <p:ph type="body" sz="quarter" idx="10" hasCustomPrompt="1"/>
          </p:nvPr>
        </p:nvSpPr>
        <p:spPr>
          <a:xfrm>
            <a:off x="1103186"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9" name="Text Placeholder 32">
            <a:extLst>
              <a:ext uri="{FF2B5EF4-FFF2-40B4-BE49-F238E27FC236}">
                <a16:creationId xmlns:a16="http://schemas.microsoft.com/office/drawing/2014/main" id="{5593AA97-AACB-4750-ABF0-A1F0DB9CBEB5}"/>
              </a:ext>
            </a:extLst>
          </p:cNvPr>
          <p:cNvSpPr>
            <a:spLocks noGrp="1"/>
          </p:cNvSpPr>
          <p:nvPr>
            <p:ph type="body" sz="quarter" idx="12" hasCustomPrompt="1"/>
          </p:nvPr>
        </p:nvSpPr>
        <p:spPr>
          <a:xfrm>
            <a:off x="1103186" y="1250327"/>
            <a:ext cx="4572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10" name="Text Placeholder 32">
            <a:extLst>
              <a:ext uri="{FF2B5EF4-FFF2-40B4-BE49-F238E27FC236}">
                <a16:creationId xmlns:a16="http://schemas.microsoft.com/office/drawing/2014/main" id="{35390592-13F8-4E0E-98C6-4CD3BBC2EBF6}"/>
              </a:ext>
            </a:extLst>
          </p:cNvPr>
          <p:cNvSpPr>
            <a:spLocks noGrp="1"/>
          </p:cNvSpPr>
          <p:nvPr>
            <p:ph type="body" sz="quarter" idx="14" hasCustomPrompt="1"/>
          </p:nvPr>
        </p:nvSpPr>
        <p:spPr>
          <a:xfrm>
            <a:off x="6096000" y="1250327"/>
            <a:ext cx="4572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11" name="Text Placeholder 28">
            <a:extLst>
              <a:ext uri="{FF2B5EF4-FFF2-40B4-BE49-F238E27FC236}">
                <a16:creationId xmlns:a16="http://schemas.microsoft.com/office/drawing/2014/main" id="{01D1A96D-F7A8-4548-9756-C5F40F9070EF}"/>
              </a:ext>
            </a:extLst>
          </p:cNvPr>
          <p:cNvSpPr>
            <a:spLocks noGrp="1"/>
          </p:cNvSpPr>
          <p:nvPr>
            <p:ph type="body" sz="quarter" idx="16" hasCustomPrompt="1"/>
          </p:nvPr>
        </p:nvSpPr>
        <p:spPr>
          <a:xfrm>
            <a:off x="6096000"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15" name="Title 11">
            <a:extLst>
              <a:ext uri="{FF2B5EF4-FFF2-40B4-BE49-F238E27FC236}">
                <a16:creationId xmlns:a16="http://schemas.microsoft.com/office/drawing/2014/main" id="{8B3353BB-3485-437A-AF67-A580E48B03DA}"/>
              </a:ext>
            </a:extLst>
          </p:cNvPr>
          <p:cNvSpPr>
            <a:spLocks noGrp="1"/>
          </p:cNvSpPr>
          <p:nvPr>
            <p:ph type="title"/>
          </p:nvPr>
        </p:nvSpPr>
        <p:spPr>
          <a:xfrm>
            <a:off x="239082" y="230376"/>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9445453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Break_1">
    <p:bg>
      <p:bgRef idx="1003">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1EDF-E8F0-45E9-AEE6-F8FDA7098DA5}"/>
              </a:ext>
            </a:extLst>
          </p:cNvPr>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en-US"/>
              <a:t>CLICK TO EDIT SECTION TITLE</a:t>
            </a:r>
          </a:p>
        </p:txBody>
      </p:sp>
    </p:spTree>
    <p:extLst>
      <p:ext uri="{BB962C8B-B14F-4D97-AF65-F5344CB8AC3E}">
        <p14:creationId xmlns:p14="http://schemas.microsoft.com/office/powerpoint/2010/main" val="85293769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_Agend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7057F5-E684-4EB2-8C4B-1190402765F7}"/>
              </a:ext>
            </a:extLst>
          </p:cNvPr>
          <p:cNvPicPr>
            <a:picLocks noChangeAspect="1"/>
          </p:cNvPicPr>
          <p:nvPr/>
        </p:nvPicPr>
        <p:blipFill>
          <a:blip r:embed="rId2"/>
          <a:stretch>
            <a:fillRect/>
          </a:stretch>
        </p:blipFill>
        <p:spPr>
          <a:xfrm>
            <a:off x="0" y="8018"/>
            <a:ext cx="12192000" cy="6841964"/>
          </a:xfrm>
          <a:prstGeom prst="rect">
            <a:avLst/>
          </a:prstGeom>
        </p:spPr>
      </p:pic>
      <p:sp>
        <p:nvSpPr>
          <p:cNvPr id="4" name="Rectangle 3">
            <a:extLst>
              <a:ext uri="{FF2B5EF4-FFF2-40B4-BE49-F238E27FC236}">
                <a16:creationId xmlns:a16="http://schemas.microsoft.com/office/drawing/2014/main" id="{C113FD49-FC5B-47F1-8CA1-2A8654288FA7}"/>
              </a:ext>
            </a:extLst>
          </p:cNvPr>
          <p:cNvSpPr/>
          <p:nvPr/>
        </p:nvSpPr>
        <p:spPr>
          <a:xfrm flipH="1">
            <a:off x="-20940" y="8018"/>
            <a:ext cx="12212940" cy="6858001"/>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7979" tIns="83989" rIns="167979" bIns="83989" numCol="1" spcCol="0" rtlCol="0" fromWordArt="0" anchor="ctr" anchorCtr="0" forceAA="0" compatLnSpc="1">
            <a:prstTxWarp prst="textNoShape">
              <a:avLst/>
            </a:prstTxWarp>
            <a:noAutofit/>
          </a:bodyPr>
          <a:lstStyle/>
          <a:p>
            <a:pPr marL="0" marR="0" lvl="0" indent="0" algn="l" defTabSz="877011"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white"/>
              </a:solidFill>
              <a:effectLst/>
              <a:uLnTx/>
              <a:uFillTx/>
              <a:latin typeface="Arial"/>
              <a:ea typeface="+mn-ea"/>
              <a:cs typeface="Arial"/>
            </a:endParaRPr>
          </a:p>
        </p:txBody>
      </p:sp>
      <p:sp>
        <p:nvSpPr>
          <p:cNvPr id="5" name="TextBox 4">
            <a:extLst>
              <a:ext uri="{FF2B5EF4-FFF2-40B4-BE49-F238E27FC236}">
                <a16:creationId xmlns:a16="http://schemas.microsoft.com/office/drawing/2014/main" id="{9F5C8AB8-4B88-4AF4-8007-F210529CA332}"/>
              </a:ext>
            </a:extLst>
          </p:cNvPr>
          <p:cNvSpPr txBox="1"/>
          <p:nvPr/>
        </p:nvSpPr>
        <p:spPr>
          <a:xfrm>
            <a:off x="13191744" y="1011937"/>
            <a:ext cx="65" cy="246221"/>
          </a:xfrm>
          <a:prstGeom prst="rect">
            <a:avLst/>
          </a:prstGeom>
          <a:noFill/>
        </p:spPr>
        <p:txBody>
          <a:bodyPr wrap="none" lIns="0" tIns="0" rIns="0" bIns="0" rtlCol="0">
            <a:spAutoFit/>
          </a:bodyPr>
          <a:lstStyle/>
          <a:p>
            <a:pPr marL="0" marR="0" lvl="0" indent="0" algn="l" defTabSz="877011" rtl="0" eaLnBrk="1" fontAlgn="auto" latinLnBrk="0" hangingPunct="1">
              <a:lnSpc>
                <a:spcPct val="100000"/>
              </a:lnSpc>
              <a:spcBef>
                <a:spcPts val="1067"/>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02C9E405-3A9E-4FAB-B208-836C9A889697}"/>
              </a:ext>
            </a:extLst>
          </p:cNvPr>
          <p:cNvPicPr>
            <a:picLocks noChangeAspect="1"/>
          </p:cNvPicPr>
          <p:nvPr/>
        </p:nvPicPr>
        <p:blipFill>
          <a:blip r:embed="rId3"/>
          <a:stretch>
            <a:fillRect/>
          </a:stretch>
        </p:blipFill>
        <p:spPr>
          <a:xfrm>
            <a:off x="10313249" y="445568"/>
            <a:ext cx="1304925" cy="1257300"/>
          </a:xfrm>
          <a:prstGeom prst="rect">
            <a:avLst/>
          </a:prstGeom>
        </p:spPr>
      </p:pic>
      <p:sp>
        <p:nvSpPr>
          <p:cNvPr id="7" name="Text Placeholder 12">
            <a:extLst>
              <a:ext uri="{FF2B5EF4-FFF2-40B4-BE49-F238E27FC236}">
                <a16:creationId xmlns:a16="http://schemas.microsoft.com/office/drawing/2014/main" id="{507754B0-4950-4B7F-90C1-63B1DE6E6EAF}"/>
              </a:ext>
            </a:extLst>
          </p:cNvPr>
          <p:cNvSpPr>
            <a:spLocks noGrp="1"/>
          </p:cNvSpPr>
          <p:nvPr>
            <p:ph type="body" sz="quarter" idx="10" hasCustomPrompt="1"/>
          </p:nvPr>
        </p:nvSpPr>
        <p:spPr>
          <a:xfrm>
            <a:off x="378556" y="2107290"/>
            <a:ext cx="11478043" cy="695196"/>
          </a:xfrm>
          <a:prstGeom prst="rect">
            <a:avLst/>
          </a:prstGeom>
        </p:spPr>
        <p:txBody>
          <a:bodyPr anchor="ctr">
            <a:normAutofit/>
          </a:bodyPr>
          <a:lstStyle>
            <a:lvl1pPr marL="0" indent="0" algn="ctr">
              <a:buNone/>
              <a:defRPr sz="4400" b="1">
                <a:solidFill>
                  <a:schemeClr val="accent2"/>
                </a:solidFill>
                <a:latin typeface="+mj-lt"/>
              </a:defRPr>
            </a:lvl1pPr>
          </a:lstStyle>
          <a:p>
            <a:pPr lvl="0"/>
            <a:r>
              <a:rPr lang="en-US"/>
              <a:t>Click to Edit Title</a:t>
            </a:r>
          </a:p>
        </p:txBody>
      </p:sp>
      <p:sp>
        <p:nvSpPr>
          <p:cNvPr id="8" name="Text Placeholder 12">
            <a:extLst>
              <a:ext uri="{FF2B5EF4-FFF2-40B4-BE49-F238E27FC236}">
                <a16:creationId xmlns:a16="http://schemas.microsoft.com/office/drawing/2014/main" id="{10DB5F62-9097-4208-8A6D-3E1B65365F8B}"/>
              </a:ext>
            </a:extLst>
          </p:cNvPr>
          <p:cNvSpPr>
            <a:spLocks noGrp="1"/>
          </p:cNvSpPr>
          <p:nvPr>
            <p:ph type="body" sz="quarter" idx="11" hasCustomPrompt="1"/>
          </p:nvPr>
        </p:nvSpPr>
        <p:spPr>
          <a:xfrm>
            <a:off x="1212271" y="2802486"/>
            <a:ext cx="9810612" cy="371903"/>
          </a:xfrm>
          <a:prstGeom prst="rect">
            <a:avLst/>
          </a:prstGeom>
        </p:spPr>
        <p:txBody>
          <a:bodyPr anchor="ctr">
            <a:normAutofit/>
          </a:bodyPr>
          <a:lstStyle>
            <a:lvl1pPr marL="0" indent="0" algn="ctr">
              <a:buNone/>
              <a:defRPr sz="2000" b="0">
                <a:solidFill>
                  <a:schemeClr val="tx1"/>
                </a:solidFill>
                <a:latin typeface="+mj-lt"/>
              </a:defRPr>
            </a:lvl1pPr>
          </a:lstStyle>
          <a:p>
            <a:pPr lvl="0"/>
            <a:r>
              <a:rPr lang="en-US"/>
              <a:t>Click to Enter Date</a:t>
            </a:r>
          </a:p>
        </p:txBody>
      </p:sp>
      <p:sp>
        <p:nvSpPr>
          <p:cNvPr id="9" name="Picture Placeholder 17">
            <a:extLst>
              <a:ext uri="{FF2B5EF4-FFF2-40B4-BE49-F238E27FC236}">
                <a16:creationId xmlns:a16="http://schemas.microsoft.com/office/drawing/2014/main" id="{C34A9DC4-DD3F-4ED3-BDB5-CCD046A7D6D8}"/>
              </a:ext>
            </a:extLst>
          </p:cNvPr>
          <p:cNvSpPr>
            <a:spLocks noGrp="1"/>
          </p:cNvSpPr>
          <p:nvPr>
            <p:ph type="pic" sz="quarter" idx="13" hasCustomPrompt="1"/>
          </p:nvPr>
        </p:nvSpPr>
        <p:spPr>
          <a:xfrm>
            <a:off x="573826" y="466703"/>
            <a:ext cx="2216324" cy="1173884"/>
          </a:xfrm>
          <a:prstGeom prst="rect">
            <a:avLst/>
          </a:prstGeom>
        </p:spPr>
        <p:txBody>
          <a:bodyPr/>
          <a:lstStyle>
            <a:lvl1pPr marL="0" indent="0" algn="ctr">
              <a:buNone/>
              <a:defRPr>
                <a:solidFill>
                  <a:schemeClr val="bg1"/>
                </a:solidFill>
              </a:defRPr>
            </a:lvl1pPr>
          </a:lstStyle>
          <a:p>
            <a:r>
              <a:rPr lang="en-US"/>
              <a:t>Inter Client Logo</a:t>
            </a:r>
          </a:p>
        </p:txBody>
      </p:sp>
      <p:sp>
        <p:nvSpPr>
          <p:cNvPr id="11" name="Text Placeholder 15">
            <a:extLst>
              <a:ext uri="{FF2B5EF4-FFF2-40B4-BE49-F238E27FC236}">
                <a16:creationId xmlns:a16="http://schemas.microsoft.com/office/drawing/2014/main" id="{145A6798-E084-4946-952E-170E0E46F0C2}"/>
              </a:ext>
            </a:extLst>
          </p:cNvPr>
          <p:cNvSpPr>
            <a:spLocks noGrp="1"/>
          </p:cNvSpPr>
          <p:nvPr>
            <p:ph type="body" sz="quarter" idx="12" hasCustomPrompt="1"/>
          </p:nvPr>
        </p:nvSpPr>
        <p:spPr>
          <a:xfrm>
            <a:off x="3489887" y="3864597"/>
            <a:ext cx="5451982" cy="2128788"/>
          </a:xfrm>
          <a:prstGeom prst="rect">
            <a:avLst/>
          </a:prstGeom>
          <a:solidFill>
            <a:schemeClr val="bg1">
              <a:alpha val="80000"/>
            </a:schemeClr>
          </a:solidFill>
        </p:spPr>
        <p:txBody>
          <a:bodyPr lIns="274320" tIns="182880" rIns="274320" bIns="182880">
            <a:spAutoFit/>
          </a:bodyPr>
          <a:lstStyle>
            <a:lvl1pPr marL="285750" indent="-285750">
              <a:buFont typeface="Wingdings" panose="05000000000000000000" pitchFamily="2" charset="2"/>
              <a:buChar char="v"/>
              <a:defRPr sz="1800">
                <a:solidFill>
                  <a:schemeClr val="bg2">
                    <a:lumMod val="75000"/>
                  </a:schemeClr>
                </a:solidFill>
                <a:latin typeface="+mn-lt"/>
                <a:cs typeface="Calibri" panose="020F0502020204030204" pitchFamily="34" charset="0"/>
              </a:defRPr>
            </a:lvl1pPr>
          </a:lstStyle>
          <a:p>
            <a:pPr lvl="0"/>
            <a:r>
              <a:rPr lang="en-US"/>
              <a:t>Topic 1</a:t>
            </a:r>
          </a:p>
          <a:p>
            <a:pPr lvl="0"/>
            <a:r>
              <a:rPr lang="en-US"/>
              <a:t>Topic 2</a:t>
            </a:r>
          </a:p>
          <a:p>
            <a:pPr lvl="0"/>
            <a:r>
              <a:rPr lang="en-US"/>
              <a:t>Topic 3</a:t>
            </a:r>
          </a:p>
          <a:p>
            <a:pPr lvl="0"/>
            <a:r>
              <a:rPr lang="en-US"/>
              <a:t>Topic 4</a:t>
            </a:r>
          </a:p>
          <a:p>
            <a:pPr lvl="0"/>
            <a:r>
              <a:rPr lang="en-US"/>
              <a:t>Topic 5</a:t>
            </a:r>
          </a:p>
        </p:txBody>
      </p:sp>
    </p:spTree>
    <p:extLst>
      <p:ext uri="{BB962C8B-B14F-4D97-AF65-F5344CB8AC3E}">
        <p14:creationId xmlns:p14="http://schemas.microsoft.com/office/powerpoint/2010/main" val="953145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Break_2">
    <p:bg>
      <p:bgRef idx="1003">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8C1E9A-112C-4368-A078-BAB23757FA42}"/>
              </a:ext>
            </a:extLst>
          </p:cNvPr>
          <p:cNvSpPr>
            <a:spLocks noGrp="1"/>
          </p:cNvSpPr>
          <p:nvPr>
            <p:ph type="ctrTitle" hasCustomPrompt="1"/>
          </p:nvPr>
        </p:nvSpPr>
        <p:spPr>
          <a:xfrm>
            <a:off x="1524000" y="1121203"/>
            <a:ext cx="9144000" cy="2387600"/>
          </a:xfrm>
          <a:prstGeom prst="rect">
            <a:avLst/>
          </a:prstGeom>
        </p:spPr>
        <p:txBody>
          <a:bodyPr anchor="b"/>
          <a:lstStyle>
            <a:lvl1pPr algn="ctr">
              <a:defRPr sz="6000"/>
            </a:lvl1pPr>
          </a:lstStyle>
          <a:p>
            <a:r>
              <a:rPr lang="en-US"/>
              <a:t>CLICK TO EDIT SECTION TITLE</a:t>
            </a:r>
          </a:p>
        </p:txBody>
      </p:sp>
      <p:cxnSp>
        <p:nvCxnSpPr>
          <p:cNvPr id="12" name="Straight Connector 11">
            <a:extLst>
              <a:ext uri="{FF2B5EF4-FFF2-40B4-BE49-F238E27FC236}">
                <a16:creationId xmlns:a16="http://schemas.microsoft.com/office/drawing/2014/main" id="{EB06D042-5974-4D78-9621-51396F0B9100}"/>
              </a:ext>
            </a:extLst>
          </p:cNvPr>
          <p:cNvCxnSpPr/>
          <p:nvPr userDrawn="1"/>
        </p:nvCxnSpPr>
        <p:spPr>
          <a:xfrm>
            <a:off x="2797878" y="3713445"/>
            <a:ext cx="659624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2A5648DC-CFE1-47CE-80A2-92C06029DC31}"/>
              </a:ext>
            </a:extLst>
          </p:cNvPr>
          <p:cNvSpPr>
            <a:spLocks noGrp="1"/>
          </p:cNvSpPr>
          <p:nvPr>
            <p:ph type="body" sz="quarter" idx="12" hasCustomPrompt="1"/>
          </p:nvPr>
        </p:nvSpPr>
        <p:spPr>
          <a:xfrm>
            <a:off x="1485900" y="3867150"/>
            <a:ext cx="9220200" cy="1339850"/>
          </a:xfrm>
          <a:prstGeom prst="rect">
            <a:avLst/>
          </a:prstGeom>
        </p:spPr>
        <p:txBody>
          <a:bodyPr>
            <a:normAutofit/>
          </a:bodyPr>
          <a:lstStyle>
            <a:lvl1pPr marL="0" indent="0" algn="ctr">
              <a:buNone/>
              <a:defRPr sz="4000">
                <a:solidFill>
                  <a:schemeClr val="bg2">
                    <a:lumMod val="75000"/>
                  </a:schemeClr>
                </a:solidFill>
              </a:defRPr>
            </a:lvl1pPr>
          </a:lstStyle>
          <a:p>
            <a:pPr lvl="0"/>
            <a:r>
              <a:rPr lang="en-US" sz="4000"/>
              <a:t>Click to Enter Subtitle</a:t>
            </a:r>
            <a:endParaRPr lang="en-US"/>
          </a:p>
        </p:txBody>
      </p:sp>
    </p:spTree>
    <p:extLst>
      <p:ext uri="{BB962C8B-B14F-4D97-AF65-F5344CB8AC3E}">
        <p14:creationId xmlns:p14="http://schemas.microsoft.com/office/powerpoint/2010/main" val="347672048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990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83EEF3-6978-4238-9CDB-7E266F3F9D5F}"/>
              </a:ext>
            </a:extLst>
          </p:cNvPr>
          <p:cNvSpPr txBox="1"/>
          <p:nvPr userDrawn="1"/>
        </p:nvSpPr>
        <p:spPr>
          <a:xfrm>
            <a:off x="2747269" y="2559702"/>
            <a:ext cx="6277147" cy="1323439"/>
          </a:xfrm>
          <a:prstGeom prst="rect">
            <a:avLst/>
          </a:prstGeom>
          <a:noFill/>
        </p:spPr>
        <p:txBody>
          <a:bodyPr wrap="square" rtlCol="0">
            <a:spAutoFit/>
          </a:bodyPr>
          <a:lstStyle/>
          <a:p>
            <a:pPr algn="ctr"/>
            <a:r>
              <a:rPr lang="en-US" sz="8000" b="0">
                <a:solidFill>
                  <a:srgbClr val="FF6700"/>
                </a:solidFill>
                <a:latin typeface="Calibri" panose="020F0502020204030204" pitchFamily="34" charset="0"/>
                <a:cs typeface="Calibri" panose="020F0502020204030204" pitchFamily="34" charset="0"/>
              </a:rPr>
              <a:t>THANK </a:t>
            </a:r>
            <a:r>
              <a:rPr lang="en-US" sz="8000" b="0">
                <a:solidFill>
                  <a:srgbClr val="013E7D"/>
                </a:solidFill>
                <a:latin typeface="Calibri" panose="020F0502020204030204" pitchFamily="34" charset="0"/>
                <a:cs typeface="Calibri" panose="020F0502020204030204" pitchFamily="34" charset="0"/>
              </a:rPr>
              <a:t>YOU</a:t>
            </a:r>
          </a:p>
        </p:txBody>
      </p:sp>
      <p:sp>
        <p:nvSpPr>
          <p:cNvPr id="4" name="Rectangle 3">
            <a:extLst>
              <a:ext uri="{FF2B5EF4-FFF2-40B4-BE49-F238E27FC236}">
                <a16:creationId xmlns:a16="http://schemas.microsoft.com/office/drawing/2014/main" id="{0AF9A946-1283-4F6E-9747-665065AFD1B0}"/>
              </a:ext>
            </a:extLst>
          </p:cNvPr>
          <p:cNvSpPr/>
          <p:nvPr userDrawn="1"/>
        </p:nvSpPr>
        <p:spPr>
          <a:xfrm>
            <a:off x="2324100" y="2226213"/>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41ACCEB-89FF-4003-B513-914FF6C19955}"/>
              </a:ext>
            </a:extLst>
          </p:cNvPr>
          <p:cNvSpPr/>
          <p:nvPr userDrawn="1"/>
        </p:nvSpPr>
        <p:spPr>
          <a:xfrm rot="5400000">
            <a:off x="2895528" y="1700577"/>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52F642-8850-4EE6-920D-0A4B60A6ED29}"/>
              </a:ext>
            </a:extLst>
          </p:cNvPr>
          <p:cNvSpPr/>
          <p:nvPr userDrawn="1"/>
        </p:nvSpPr>
        <p:spPr>
          <a:xfrm rot="5400000">
            <a:off x="8846820" y="3589164"/>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471B1DB-2FAA-407E-AD9E-2919F74C0081}"/>
              </a:ext>
            </a:extLst>
          </p:cNvPr>
          <p:cNvSpPr/>
          <p:nvPr userDrawn="1"/>
        </p:nvSpPr>
        <p:spPr>
          <a:xfrm rot="10800000">
            <a:off x="9418248" y="3063528"/>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2A6C3F1-CBB5-4EC8-9734-2B2F6BBF2AC1}"/>
              </a:ext>
            </a:extLst>
          </p:cNvPr>
          <p:cNvSpPr/>
          <p:nvPr userDrawn="1"/>
        </p:nvSpPr>
        <p:spPr>
          <a:xfrm>
            <a:off x="2270125" y="2060576"/>
            <a:ext cx="107950" cy="1142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CE522A-3208-4CE6-9EB5-0A3E41983D17}"/>
              </a:ext>
            </a:extLst>
          </p:cNvPr>
          <p:cNvSpPr/>
          <p:nvPr userDrawn="1"/>
        </p:nvSpPr>
        <p:spPr>
          <a:xfrm>
            <a:off x="2133600" y="2156624"/>
            <a:ext cx="88900" cy="936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B9A1365-5ABB-4D03-A8D5-07ECC7BD4D43}"/>
              </a:ext>
            </a:extLst>
          </p:cNvPr>
          <p:cNvSpPr/>
          <p:nvPr userDrawn="1"/>
        </p:nvSpPr>
        <p:spPr>
          <a:xfrm>
            <a:off x="2239847" y="2262497"/>
            <a:ext cx="55793" cy="70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96B89A3-1B01-4040-AC16-4B754923EB3D}"/>
              </a:ext>
            </a:extLst>
          </p:cNvPr>
          <p:cNvSpPr/>
          <p:nvPr userDrawn="1"/>
        </p:nvSpPr>
        <p:spPr>
          <a:xfrm>
            <a:off x="9857800" y="3845041"/>
            <a:ext cx="349420" cy="3698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8B80E91-5AA4-42C9-909A-7DDC98B39445}"/>
              </a:ext>
            </a:extLst>
          </p:cNvPr>
          <p:cNvSpPr/>
          <p:nvPr userDrawn="1"/>
        </p:nvSpPr>
        <p:spPr>
          <a:xfrm>
            <a:off x="9467956" y="4161287"/>
            <a:ext cx="287758" cy="3032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3BCB0F-72B3-4BE8-BBF1-73D8E42B6B1E}"/>
              </a:ext>
            </a:extLst>
          </p:cNvPr>
          <p:cNvSpPr/>
          <p:nvPr userDrawn="1"/>
        </p:nvSpPr>
        <p:spPr>
          <a:xfrm>
            <a:off x="9780202" y="4506394"/>
            <a:ext cx="180595" cy="228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ECAF6ED-9A92-47F3-832E-DE621B3C141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3242"/>
            <a:ext cx="12192000" cy="6861242"/>
          </a:xfrm>
          <a:prstGeom prst="rect">
            <a:avLst/>
          </a:prstGeom>
        </p:spPr>
      </p:pic>
    </p:spTree>
    <p:extLst>
      <p:ext uri="{BB962C8B-B14F-4D97-AF65-F5344CB8AC3E}">
        <p14:creationId xmlns:p14="http://schemas.microsoft.com/office/powerpoint/2010/main" val="15307813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_Bas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85676-2164-4C82-8F8F-B26C09DE390E}"/>
              </a:ext>
            </a:extLst>
          </p:cNvPr>
          <p:cNvPicPr>
            <a:picLocks noChangeAspect="1"/>
          </p:cNvPicPr>
          <p:nvPr userDrawn="1"/>
        </p:nvPicPr>
        <p:blipFill>
          <a:blip r:embed="rId2"/>
          <a:stretch>
            <a:fillRect/>
          </a:stretch>
        </p:blipFill>
        <p:spPr>
          <a:xfrm>
            <a:off x="188705" y="0"/>
            <a:ext cx="11814590" cy="6858000"/>
          </a:xfrm>
          <a:prstGeom prst="rect">
            <a:avLst/>
          </a:prstGeom>
        </p:spPr>
      </p:pic>
      <p:sp>
        <p:nvSpPr>
          <p:cNvPr id="8" name="Rectangle 7">
            <a:extLst>
              <a:ext uri="{FF2B5EF4-FFF2-40B4-BE49-F238E27FC236}">
                <a16:creationId xmlns:a16="http://schemas.microsoft.com/office/drawing/2014/main" id="{9A5B412B-EAE2-48FA-B0A4-410855AD0F7A}"/>
              </a:ext>
            </a:extLst>
          </p:cNvPr>
          <p:cNvSpPr/>
          <p:nvPr userDrawn="1"/>
        </p:nvSpPr>
        <p:spPr>
          <a:xfrm>
            <a:off x="0" y="4208753"/>
            <a:ext cx="12192000" cy="2865147"/>
          </a:xfrm>
          <a:prstGeom prst="rect">
            <a:avLst/>
          </a:prstGeom>
          <a:gradFill flip="none" rotWithShape="1">
            <a:gsLst>
              <a:gs pos="31000">
                <a:schemeClr val="bg1">
                  <a:alpha val="90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8B3A3106-6B64-4FAE-97F0-6FC8A7727291}"/>
              </a:ext>
            </a:extLst>
          </p:cNvPr>
          <p:cNvSpPr>
            <a:spLocks noGrp="1"/>
          </p:cNvSpPr>
          <p:nvPr>
            <p:ph type="ctrTitle" hasCustomPrompt="1"/>
          </p:nvPr>
        </p:nvSpPr>
        <p:spPr>
          <a:xfrm>
            <a:off x="290773" y="5656553"/>
            <a:ext cx="11610454" cy="590931"/>
          </a:xfrm>
          <a:prstGeom prst="rect">
            <a:avLst/>
          </a:prstGeom>
        </p:spPr>
        <p:txBody>
          <a:bodyPr anchor="ctr">
            <a:spAutoFit/>
          </a:bodyPr>
          <a:lstStyle>
            <a:lvl1pPr algn="ctr">
              <a:defRPr sz="3600"/>
            </a:lvl1pPr>
          </a:lstStyle>
          <a:p>
            <a:r>
              <a:rPr lang="en-US"/>
              <a:t>CLICK TO EDIT MASTER TITLE STYLE</a:t>
            </a:r>
          </a:p>
        </p:txBody>
      </p:sp>
      <p:sp>
        <p:nvSpPr>
          <p:cNvPr id="10" name="Subtitle 2">
            <a:extLst>
              <a:ext uri="{FF2B5EF4-FFF2-40B4-BE49-F238E27FC236}">
                <a16:creationId xmlns:a16="http://schemas.microsoft.com/office/drawing/2014/main" id="{7F9F79B7-C348-4A5F-8D41-863D9B0D0385}"/>
              </a:ext>
            </a:extLst>
          </p:cNvPr>
          <p:cNvSpPr>
            <a:spLocks noGrp="1"/>
          </p:cNvSpPr>
          <p:nvPr>
            <p:ph type="subTitle" idx="1"/>
          </p:nvPr>
        </p:nvSpPr>
        <p:spPr>
          <a:xfrm>
            <a:off x="290773" y="6280872"/>
            <a:ext cx="11610454" cy="286232"/>
          </a:xfrm>
          <a:prstGeom prst="rect">
            <a:avLst/>
          </a:prstGeom>
        </p:spPr>
        <p:txBody>
          <a:bodyPr>
            <a:spAutoFit/>
          </a:bodyPr>
          <a:lstStyle>
            <a:lvl1pPr marL="0" indent="0" algn="ctr">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descr="PNG(1).png">
            <a:extLst>
              <a:ext uri="{FF2B5EF4-FFF2-40B4-BE49-F238E27FC236}">
                <a16:creationId xmlns:a16="http://schemas.microsoft.com/office/drawing/2014/main" id="{B35576C1-00C8-412A-8B20-788FCC7FCF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457775" y="290896"/>
            <a:ext cx="3443452" cy="561714"/>
          </a:xfrm>
          <a:prstGeom prst="rect">
            <a:avLst/>
          </a:prstGeom>
        </p:spPr>
      </p:pic>
    </p:spTree>
    <p:extLst>
      <p:ext uri="{BB962C8B-B14F-4D97-AF65-F5344CB8AC3E}">
        <p14:creationId xmlns:p14="http://schemas.microsoft.com/office/powerpoint/2010/main" val="19324605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_Agend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7057F5-E684-4EB2-8C4B-1190402765F7}"/>
              </a:ext>
            </a:extLst>
          </p:cNvPr>
          <p:cNvPicPr>
            <a:picLocks noChangeAspect="1"/>
          </p:cNvPicPr>
          <p:nvPr userDrawn="1"/>
        </p:nvPicPr>
        <p:blipFill>
          <a:blip r:embed="rId2"/>
          <a:stretch>
            <a:fillRect/>
          </a:stretch>
        </p:blipFill>
        <p:spPr>
          <a:xfrm>
            <a:off x="0" y="8018"/>
            <a:ext cx="12192000" cy="6841964"/>
          </a:xfrm>
          <a:prstGeom prst="rect">
            <a:avLst/>
          </a:prstGeom>
        </p:spPr>
      </p:pic>
      <p:sp>
        <p:nvSpPr>
          <p:cNvPr id="4" name="Rectangle 3">
            <a:extLst>
              <a:ext uri="{FF2B5EF4-FFF2-40B4-BE49-F238E27FC236}">
                <a16:creationId xmlns:a16="http://schemas.microsoft.com/office/drawing/2014/main" id="{C113FD49-FC5B-47F1-8CA1-2A8654288FA7}"/>
              </a:ext>
            </a:extLst>
          </p:cNvPr>
          <p:cNvSpPr/>
          <p:nvPr userDrawn="1"/>
        </p:nvSpPr>
        <p:spPr>
          <a:xfrm flipH="1">
            <a:off x="-20940" y="8018"/>
            <a:ext cx="12212940" cy="6858001"/>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7979" tIns="83989" rIns="167979" bIns="83989" numCol="1" spcCol="0" rtlCol="0" fromWordArt="0" anchor="ctr" anchorCtr="0" forceAA="0" compatLnSpc="1">
            <a:prstTxWarp prst="textNoShape">
              <a:avLst/>
            </a:prstTxWarp>
            <a:noAutofit/>
          </a:bodyPr>
          <a:lstStyle/>
          <a:p>
            <a:pPr marL="0" marR="0" lvl="0" indent="0" algn="l" defTabSz="877011"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prstClr val="white"/>
              </a:solidFill>
              <a:effectLst/>
              <a:uLnTx/>
              <a:uFillTx/>
              <a:latin typeface="Arial"/>
              <a:ea typeface="+mn-ea"/>
              <a:cs typeface="Arial"/>
            </a:endParaRPr>
          </a:p>
        </p:txBody>
      </p:sp>
      <p:sp>
        <p:nvSpPr>
          <p:cNvPr id="5" name="TextBox 4">
            <a:extLst>
              <a:ext uri="{FF2B5EF4-FFF2-40B4-BE49-F238E27FC236}">
                <a16:creationId xmlns:a16="http://schemas.microsoft.com/office/drawing/2014/main" id="{9F5C8AB8-4B88-4AF4-8007-F210529CA332}"/>
              </a:ext>
            </a:extLst>
          </p:cNvPr>
          <p:cNvSpPr txBox="1"/>
          <p:nvPr userDrawn="1"/>
        </p:nvSpPr>
        <p:spPr>
          <a:xfrm>
            <a:off x="13191744" y="1011937"/>
            <a:ext cx="65" cy="246221"/>
          </a:xfrm>
          <a:prstGeom prst="rect">
            <a:avLst/>
          </a:prstGeom>
          <a:noFill/>
        </p:spPr>
        <p:txBody>
          <a:bodyPr wrap="none" lIns="0" tIns="0" rIns="0" bIns="0" rtlCol="0">
            <a:spAutoFit/>
          </a:bodyPr>
          <a:lstStyle/>
          <a:p>
            <a:pPr marL="0" marR="0" lvl="0" indent="0" algn="l" defTabSz="877011" rtl="0" eaLnBrk="1" fontAlgn="auto" latinLnBrk="0" hangingPunct="1">
              <a:lnSpc>
                <a:spcPct val="100000"/>
              </a:lnSpc>
              <a:spcBef>
                <a:spcPts val="1067"/>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02C9E405-3A9E-4FAB-B208-836C9A889697}"/>
              </a:ext>
            </a:extLst>
          </p:cNvPr>
          <p:cNvPicPr>
            <a:picLocks noChangeAspect="1"/>
          </p:cNvPicPr>
          <p:nvPr userDrawn="1"/>
        </p:nvPicPr>
        <p:blipFill>
          <a:blip r:embed="rId3"/>
          <a:stretch>
            <a:fillRect/>
          </a:stretch>
        </p:blipFill>
        <p:spPr>
          <a:xfrm>
            <a:off x="10313249" y="445568"/>
            <a:ext cx="1304925" cy="1257300"/>
          </a:xfrm>
          <a:prstGeom prst="rect">
            <a:avLst/>
          </a:prstGeom>
        </p:spPr>
      </p:pic>
      <p:sp>
        <p:nvSpPr>
          <p:cNvPr id="7" name="Text Placeholder 12">
            <a:extLst>
              <a:ext uri="{FF2B5EF4-FFF2-40B4-BE49-F238E27FC236}">
                <a16:creationId xmlns:a16="http://schemas.microsoft.com/office/drawing/2014/main" id="{507754B0-4950-4B7F-90C1-63B1DE6E6EAF}"/>
              </a:ext>
            </a:extLst>
          </p:cNvPr>
          <p:cNvSpPr>
            <a:spLocks noGrp="1"/>
          </p:cNvSpPr>
          <p:nvPr>
            <p:ph type="body" sz="quarter" idx="10" hasCustomPrompt="1"/>
          </p:nvPr>
        </p:nvSpPr>
        <p:spPr>
          <a:xfrm>
            <a:off x="378556" y="2107290"/>
            <a:ext cx="11478043" cy="695196"/>
          </a:xfrm>
          <a:prstGeom prst="rect">
            <a:avLst/>
          </a:prstGeom>
        </p:spPr>
        <p:txBody>
          <a:bodyPr anchor="ctr">
            <a:normAutofit/>
          </a:bodyPr>
          <a:lstStyle>
            <a:lvl1pPr marL="0" indent="0" algn="ctr">
              <a:buNone/>
              <a:defRPr sz="4400" b="1">
                <a:solidFill>
                  <a:schemeClr val="accent2"/>
                </a:solidFill>
                <a:latin typeface="+mj-lt"/>
              </a:defRPr>
            </a:lvl1pPr>
          </a:lstStyle>
          <a:p>
            <a:pPr lvl="0"/>
            <a:r>
              <a:rPr lang="en-US"/>
              <a:t>Click to Edit Title</a:t>
            </a:r>
          </a:p>
        </p:txBody>
      </p:sp>
      <p:sp>
        <p:nvSpPr>
          <p:cNvPr id="8" name="Text Placeholder 12">
            <a:extLst>
              <a:ext uri="{FF2B5EF4-FFF2-40B4-BE49-F238E27FC236}">
                <a16:creationId xmlns:a16="http://schemas.microsoft.com/office/drawing/2014/main" id="{10DB5F62-9097-4208-8A6D-3E1B65365F8B}"/>
              </a:ext>
            </a:extLst>
          </p:cNvPr>
          <p:cNvSpPr>
            <a:spLocks noGrp="1"/>
          </p:cNvSpPr>
          <p:nvPr>
            <p:ph type="body" sz="quarter" idx="11" hasCustomPrompt="1"/>
          </p:nvPr>
        </p:nvSpPr>
        <p:spPr>
          <a:xfrm>
            <a:off x="1212271" y="2802486"/>
            <a:ext cx="9810612" cy="371903"/>
          </a:xfrm>
          <a:prstGeom prst="rect">
            <a:avLst/>
          </a:prstGeom>
        </p:spPr>
        <p:txBody>
          <a:bodyPr anchor="ctr">
            <a:normAutofit/>
          </a:bodyPr>
          <a:lstStyle>
            <a:lvl1pPr marL="0" indent="0" algn="ctr">
              <a:buNone/>
              <a:defRPr sz="2000" b="0">
                <a:solidFill>
                  <a:schemeClr val="tx1"/>
                </a:solidFill>
                <a:latin typeface="+mj-lt"/>
              </a:defRPr>
            </a:lvl1pPr>
          </a:lstStyle>
          <a:p>
            <a:pPr lvl="0"/>
            <a:r>
              <a:rPr lang="en-US"/>
              <a:t>Click to Enter Date</a:t>
            </a:r>
          </a:p>
        </p:txBody>
      </p:sp>
      <p:sp>
        <p:nvSpPr>
          <p:cNvPr id="9" name="Picture Placeholder 17">
            <a:extLst>
              <a:ext uri="{FF2B5EF4-FFF2-40B4-BE49-F238E27FC236}">
                <a16:creationId xmlns:a16="http://schemas.microsoft.com/office/drawing/2014/main" id="{C34A9DC4-DD3F-4ED3-BDB5-CCD046A7D6D8}"/>
              </a:ext>
            </a:extLst>
          </p:cNvPr>
          <p:cNvSpPr>
            <a:spLocks noGrp="1"/>
          </p:cNvSpPr>
          <p:nvPr>
            <p:ph type="pic" sz="quarter" idx="13" hasCustomPrompt="1"/>
          </p:nvPr>
        </p:nvSpPr>
        <p:spPr>
          <a:xfrm>
            <a:off x="573826" y="466703"/>
            <a:ext cx="2216324" cy="1173884"/>
          </a:xfrm>
          <a:prstGeom prst="rect">
            <a:avLst/>
          </a:prstGeom>
        </p:spPr>
        <p:txBody>
          <a:bodyPr/>
          <a:lstStyle>
            <a:lvl1pPr marL="0" indent="0" algn="ctr">
              <a:buNone/>
              <a:defRPr>
                <a:solidFill>
                  <a:schemeClr val="bg1"/>
                </a:solidFill>
              </a:defRPr>
            </a:lvl1pPr>
          </a:lstStyle>
          <a:p>
            <a:r>
              <a:rPr lang="en-US"/>
              <a:t>Inter Client Logo</a:t>
            </a:r>
          </a:p>
        </p:txBody>
      </p:sp>
      <p:sp>
        <p:nvSpPr>
          <p:cNvPr id="11" name="Text Placeholder 15">
            <a:extLst>
              <a:ext uri="{FF2B5EF4-FFF2-40B4-BE49-F238E27FC236}">
                <a16:creationId xmlns:a16="http://schemas.microsoft.com/office/drawing/2014/main" id="{145A6798-E084-4946-952E-170E0E46F0C2}"/>
              </a:ext>
            </a:extLst>
          </p:cNvPr>
          <p:cNvSpPr>
            <a:spLocks noGrp="1"/>
          </p:cNvSpPr>
          <p:nvPr>
            <p:ph type="body" sz="quarter" idx="12" hasCustomPrompt="1"/>
          </p:nvPr>
        </p:nvSpPr>
        <p:spPr>
          <a:xfrm>
            <a:off x="3489887" y="3864597"/>
            <a:ext cx="5451982" cy="2128788"/>
          </a:xfrm>
          <a:prstGeom prst="rect">
            <a:avLst/>
          </a:prstGeom>
          <a:solidFill>
            <a:schemeClr val="bg1">
              <a:alpha val="80000"/>
            </a:schemeClr>
          </a:solidFill>
        </p:spPr>
        <p:txBody>
          <a:bodyPr lIns="274320" tIns="182880" rIns="274320" bIns="182880">
            <a:spAutoFit/>
          </a:bodyPr>
          <a:lstStyle>
            <a:lvl1pPr marL="285750" indent="-285750">
              <a:buFont typeface="Wingdings" panose="05000000000000000000" pitchFamily="2" charset="2"/>
              <a:buChar char="v"/>
              <a:defRPr sz="1800">
                <a:solidFill>
                  <a:schemeClr val="bg2">
                    <a:lumMod val="75000"/>
                  </a:schemeClr>
                </a:solidFill>
                <a:latin typeface="+mn-lt"/>
                <a:cs typeface="Calibri" panose="020F0502020204030204" pitchFamily="34" charset="0"/>
              </a:defRPr>
            </a:lvl1pPr>
          </a:lstStyle>
          <a:p>
            <a:pPr lvl="0"/>
            <a:r>
              <a:rPr lang="en-US"/>
              <a:t>Topic 1</a:t>
            </a:r>
          </a:p>
          <a:p>
            <a:pPr lvl="0"/>
            <a:r>
              <a:rPr lang="en-US"/>
              <a:t>Topic 2</a:t>
            </a:r>
          </a:p>
          <a:p>
            <a:pPr lvl="0"/>
            <a:r>
              <a:rPr lang="en-US"/>
              <a:t>Topic 3</a:t>
            </a:r>
          </a:p>
          <a:p>
            <a:pPr lvl="0"/>
            <a:r>
              <a:rPr lang="en-US"/>
              <a:t>Topic 4</a:t>
            </a:r>
          </a:p>
          <a:p>
            <a:pPr lvl="0"/>
            <a:r>
              <a:rPr lang="en-US"/>
              <a:t>Topic 5</a:t>
            </a:r>
          </a:p>
        </p:txBody>
      </p:sp>
    </p:spTree>
    <p:extLst>
      <p:ext uri="{BB962C8B-B14F-4D97-AF65-F5344CB8AC3E}">
        <p14:creationId xmlns:p14="http://schemas.microsoft.com/office/powerpoint/2010/main" val="9531454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91004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885524" y="1184515"/>
            <a:ext cx="10491537" cy="5100782"/>
          </a:xfrm>
          <a:prstGeom prst="rect">
            <a:avLst/>
          </a:prstGeom>
        </p:spPr>
        <p:txBody>
          <a:bodyPr>
            <a:noAutofit/>
          </a:bodyPr>
          <a:lstStyle>
            <a:lvl1pPr>
              <a:defRPr sz="2000">
                <a:solidFill>
                  <a:schemeClr val="bg2">
                    <a:lumMod val="75000"/>
                  </a:schemeClr>
                </a:solidFill>
              </a:defRPr>
            </a:lvl1pPr>
            <a:lvl2pPr>
              <a:defRPr sz="1800">
                <a:solidFill>
                  <a:schemeClr val="bg2">
                    <a:lumMod val="75000"/>
                  </a:schemeClr>
                </a:solidFill>
              </a:defRPr>
            </a:lvl2pPr>
            <a:lvl3pPr>
              <a:defRPr sz="1800">
                <a:solidFill>
                  <a:schemeClr val="bg2">
                    <a:lumMod val="75000"/>
                  </a:schemeClr>
                </a:solidFill>
              </a:defRPr>
            </a:lvl3pPr>
            <a:lvl4pPr>
              <a:defRPr sz="16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1">
            <a:extLst>
              <a:ext uri="{FF2B5EF4-FFF2-40B4-BE49-F238E27FC236}">
                <a16:creationId xmlns:a16="http://schemas.microsoft.com/office/drawing/2014/main" id="{DDFE21BF-5132-4BE3-A839-ECBE15D8B0CF}"/>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6531122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_Compact">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0B76702-9F6D-4AAA-9C24-7FE2CA8BEE9E}"/>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88578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1780675" y="1944304"/>
            <a:ext cx="8566484" cy="3359216"/>
          </a:xfrm>
          <a:prstGeom prst="rect">
            <a:avLst/>
          </a:prstGeom>
        </p:spPr>
        <p:txBody>
          <a:bodyPr>
            <a:noAutofit/>
          </a:bodyPr>
          <a:lstStyle>
            <a:lvl1pPr>
              <a:defRPr sz="2400">
                <a:solidFill>
                  <a:schemeClr val="bg2">
                    <a:lumMod val="75000"/>
                  </a:schemeClr>
                </a:solidFill>
              </a:defRPr>
            </a:lvl1pPr>
            <a:lvl2pPr>
              <a:defRPr sz="2200">
                <a:solidFill>
                  <a:schemeClr val="bg2">
                    <a:lumMod val="75000"/>
                  </a:schemeClr>
                </a:solidFill>
              </a:defRPr>
            </a:lvl2pPr>
            <a:lvl3pPr>
              <a:defRPr sz="2000">
                <a:solidFill>
                  <a:schemeClr val="bg2">
                    <a:lumMod val="75000"/>
                  </a:schemeClr>
                </a:solidFill>
              </a:defRPr>
            </a:lvl3pPr>
            <a:lvl4pPr>
              <a:defRPr sz="18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469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1">
            <a:extLst>
              <a:ext uri="{FF2B5EF4-FFF2-40B4-BE49-F238E27FC236}">
                <a16:creationId xmlns:a16="http://schemas.microsoft.com/office/drawing/2014/main" id="{93069341-8A63-4F4B-8D64-C3EEB1D0E854}"/>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32726701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Area">
    <p:spTree>
      <p:nvGrpSpPr>
        <p:cNvPr id="1" name=""/>
        <p:cNvGrpSpPr/>
        <p:nvPr/>
      </p:nvGrpSpPr>
      <p:grpSpPr>
        <a:xfrm>
          <a:off x="0" y="0"/>
          <a:ext cx="0" cy="0"/>
          <a:chOff x="0" y="0"/>
          <a:chExt cx="0" cy="0"/>
        </a:xfrm>
      </p:grpSpPr>
      <p:sp>
        <p:nvSpPr>
          <p:cNvPr id="3" name="Text Placeholder 28">
            <a:extLst>
              <a:ext uri="{FF2B5EF4-FFF2-40B4-BE49-F238E27FC236}">
                <a16:creationId xmlns:a16="http://schemas.microsoft.com/office/drawing/2014/main" id="{724D9955-0283-47AD-9971-949722A0608D}"/>
              </a:ext>
            </a:extLst>
          </p:cNvPr>
          <p:cNvSpPr>
            <a:spLocks noGrp="1"/>
          </p:cNvSpPr>
          <p:nvPr>
            <p:ph type="body" sz="quarter" idx="10"/>
          </p:nvPr>
        </p:nvSpPr>
        <p:spPr>
          <a:xfrm>
            <a:off x="602673"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2">
            <a:extLst>
              <a:ext uri="{FF2B5EF4-FFF2-40B4-BE49-F238E27FC236}">
                <a16:creationId xmlns:a16="http://schemas.microsoft.com/office/drawing/2014/main" id="{FC7F0345-AC3D-410C-B0A9-CF73FCB7F474}"/>
              </a:ext>
            </a:extLst>
          </p:cNvPr>
          <p:cNvSpPr>
            <a:spLocks noGrp="1"/>
          </p:cNvSpPr>
          <p:nvPr>
            <p:ph type="body" sz="quarter" idx="12" hasCustomPrompt="1"/>
          </p:nvPr>
        </p:nvSpPr>
        <p:spPr>
          <a:xfrm>
            <a:off x="602673" y="1249558"/>
            <a:ext cx="3429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6" name="Text Placeholder 32">
            <a:extLst>
              <a:ext uri="{FF2B5EF4-FFF2-40B4-BE49-F238E27FC236}">
                <a16:creationId xmlns:a16="http://schemas.microsoft.com/office/drawing/2014/main" id="{33CFCB20-6807-45CA-8564-19E3309F8F53}"/>
              </a:ext>
            </a:extLst>
          </p:cNvPr>
          <p:cNvSpPr>
            <a:spLocks noGrp="1"/>
          </p:cNvSpPr>
          <p:nvPr>
            <p:ph type="body" sz="quarter" idx="13" hasCustomPrompt="1"/>
          </p:nvPr>
        </p:nvSpPr>
        <p:spPr>
          <a:xfrm>
            <a:off x="4269520" y="1249558"/>
            <a:ext cx="3429000" cy="731520"/>
          </a:xfrm>
          <a:prstGeom prst="rect">
            <a:avLst/>
          </a:prstGeom>
          <a:solidFill>
            <a:schemeClr val="accent3"/>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7" name="Text Placeholder 32">
            <a:extLst>
              <a:ext uri="{FF2B5EF4-FFF2-40B4-BE49-F238E27FC236}">
                <a16:creationId xmlns:a16="http://schemas.microsoft.com/office/drawing/2014/main" id="{02B42338-61A8-4011-B494-5ED8D1255505}"/>
              </a:ext>
            </a:extLst>
          </p:cNvPr>
          <p:cNvSpPr>
            <a:spLocks noGrp="1"/>
          </p:cNvSpPr>
          <p:nvPr>
            <p:ph type="body" sz="quarter" idx="14" hasCustomPrompt="1"/>
          </p:nvPr>
        </p:nvSpPr>
        <p:spPr>
          <a:xfrm>
            <a:off x="7936367" y="1249558"/>
            <a:ext cx="3429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3</a:t>
            </a:r>
          </a:p>
        </p:txBody>
      </p:sp>
      <p:sp>
        <p:nvSpPr>
          <p:cNvPr id="8" name="Text Placeholder 28">
            <a:extLst>
              <a:ext uri="{FF2B5EF4-FFF2-40B4-BE49-F238E27FC236}">
                <a16:creationId xmlns:a16="http://schemas.microsoft.com/office/drawing/2014/main" id="{78F4C7A6-C684-42FA-ACDD-0EB5664804D9}"/>
              </a:ext>
            </a:extLst>
          </p:cNvPr>
          <p:cNvSpPr>
            <a:spLocks noGrp="1"/>
          </p:cNvSpPr>
          <p:nvPr>
            <p:ph type="body" sz="quarter" idx="15"/>
          </p:nvPr>
        </p:nvSpPr>
        <p:spPr>
          <a:xfrm>
            <a:off x="4269520"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8">
            <a:extLst>
              <a:ext uri="{FF2B5EF4-FFF2-40B4-BE49-F238E27FC236}">
                <a16:creationId xmlns:a16="http://schemas.microsoft.com/office/drawing/2014/main" id="{C6649310-DCF7-4267-A9BD-096D2924923F}"/>
              </a:ext>
            </a:extLst>
          </p:cNvPr>
          <p:cNvSpPr>
            <a:spLocks noGrp="1"/>
          </p:cNvSpPr>
          <p:nvPr>
            <p:ph type="body" sz="quarter" idx="16"/>
          </p:nvPr>
        </p:nvSpPr>
        <p:spPr>
          <a:xfrm>
            <a:off x="7936367"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1">
            <a:extLst>
              <a:ext uri="{FF2B5EF4-FFF2-40B4-BE49-F238E27FC236}">
                <a16:creationId xmlns:a16="http://schemas.microsoft.com/office/drawing/2014/main" id="{9C601A7C-2FDA-412E-BA42-148189F74F67}"/>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40797458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Are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91698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28">
            <a:extLst>
              <a:ext uri="{FF2B5EF4-FFF2-40B4-BE49-F238E27FC236}">
                <a16:creationId xmlns:a16="http://schemas.microsoft.com/office/drawing/2014/main" id="{CBCA4D4E-FE17-4453-990F-769E721FF022}"/>
              </a:ext>
            </a:extLst>
          </p:cNvPr>
          <p:cNvSpPr>
            <a:spLocks noGrp="1"/>
          </p:cNvSpPr>
          <p:nvPr>
            <p:ph type="body" sz="quarter" idx="10" hasCustomPrompt="1"/>
          </p:nvPr>
        </p:nvSpPr>
        <p:spPr>
          <a:xfrm>
            <a:off x="1103186"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9" name="Text Placeholder 32">
            <a:extLst>
              <a:ext uri="{FF2B5EF4-FFF2-40B4-BE49-F238E27FC236}">
                <a16:creationId xmlns:a16="http://schemas.microsoft.com/office/drawing/2014/main" id="{5593AA97-AACB-4750-ABF0-A1F0DB9CBEB5}"/>
              </a:ext>
            </a:extLst>
          </p:cNvPr>
          <p:cNvSpPr>
            <a:spLocks noGrp="1"/>
          </p:cNvSpPr>
          <p:nvPr>
            <p:ph type="body" sz="quarter" idx="12" hasCustomPrompt="1"/>
          </p:nvPr>
        </p:nvSpPr>
        <p:spPr>
          <a:xfrm>
            <a:off x="1103186" y="1250327"/>
            <a:ext cx="4572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10" name="Text Placeholder 32">
            <a:extLst>
              <a:ext uri="{FF2B5EF4-FFF2-40B4-BE49-F238E27FC236}">
                <a16:creationId xmlns:a16="http://schemas.microsoft.com/office/drawing/2014/main" id="{35390592-13F8-4E0E-98C6-4CD3BBC2EBF6}"/>
              </a:ext>
            </a:extLst>
          </p:cNvPr>
          <p:cNvSpPr>
            <a:spLocks noGrp="1"/>
          </p:cNvSpPr>
          <p:nvPr>
            <p:ph type="body" sz="quarter" idx="14" hasCustomPrompt="1"/>
          </p:nvPr>
        </p:nvSpPr>
        <p:spPr>
          <a:xfrm>
            <a:off x="6096000" y="1250327"/>
            <a:ext cx="4572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11" name="Text Placeholder 28">
            <a:extLst>
              <a:ext uri="{FF2B5EF4-FFF2-40B4-BE49-F238E27FC236}">
                <a16:creationId xmlns:a16="http://schemas.microsoft.com/office/drawing/2014/main" id="{01D1A96D-F7A8-4548-9756-C5F40F9070EF}"/>
              </a:ext>
            </a:extLst>
          </p:cNvPr>
          <p:cNvSpPr>
            <a:spLocks noGrp="1"/>
          </p:cNvSpPr>
          <p:nvPr>
            <p:ph type="body" sz="quarter" idx="16" hasCustomPrompt="1"/>
          </p:nvPr>
        </p:nvSpPr>
        <p:spPr>
          <a:xfrm>
            <a:off x="6096000"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15" name="Title 11">
            <a:extLst>
              <a:ext uri="{FF2B5EF4-FFF2-40B4-BE49-F238E27FC236}">
                <a16:creationId xmlns:a16="http://schemas.microsoft.com/office/drawing/2014/main" id="{8B3353BB-3485-437A-AF67-A580E48B03DA}"/>
              </a:ext>
            </a:extLst>
          </p:cNvPr>
          <p:cNvSpPr>
            <a:spLocks noGrp="1"/>
          </p:cNvSpPr>
          <p:nvPr>
            <p:ph type="title"/>
          </p:nvPr>
        </p:nvSpPr>
        <p:spPr>
          <a:xfrm>
            <a:off x="239082" y="230376"/>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944545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91004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885524" y="1184515"/>
            <a:ext cx="10491537" cy="5100782"/>
          </a:xfrm>
          <a:prstGeom prst="rect">
            <a:avLst/>
          </a:prstGeom>
        </p:spPr>
        <p:txBody>
          <a:bodyPr>
            <a:noAutofit/>
          </a:bodyPr>
          <a:lstStyle>
            <a:lvl1pPr>
              <a:defRPr sz="2000">
                <a:solidFill>
                  <a:schemeClr val="bg2">
                    <a:lumMod val="75000"/>
                  </a:schemeClr>
                </a:solidFill>
              </a:defRPr>
            </a:lvl1pPr>
            <a:lvl2pPr>
              <a:defRPr sz="1800">
                <a:solidFill>
                  <a:schemeClr val="bg2">
                    <a:lumMod val="75000"/>
                  </a:schemeClr>
                </a:solidFill>
              </a:defRPr>
            </a:lvl2pPr>
            <a:lvl3pPr>
              <a:defRPr sz="1800">
                <a:solidFill>
                  <a:schemeClr val="bg2">
                    <a:lumMod val="75000"/>
                  </a:schemeClr>
                </a:solidFill>
              </a:defRPr>
            </a:lvl3pPr>
            <a:lvl4pPr>
              <a:defRPr sz="16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1">
            <a:extLst>
              <a:ext uri="{FF2B5EF4-FFF2-40B4-BE49-F238E27FC236}">
                <a16:creationId xmlns:a16="http://schemas.microsoft.com/office/drawing/2014/main" id="{DDFE21BF-5132-4BE3-A839-ECBE15D8B0CF}"/>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653112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Break_1">
    <p:bg>
      <p:bgRef idx="1003">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1EDF-E8F0-45E9-AEE6-F8FDA7098DA5}"/>
              </a:ext>
            </a:extLst>
          </p:cNvPr>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en-US"/>
              <a:t>CLICK TO EDIT SECTION TITLE</a:t>
            </a:r>
          </a:p>
        </p:txBody>
      </p:sp>
    </p:spTree>
    <p:extLst>
      <p:ext uri="{BB962C8B-B14F-4D97-AF65-F5344CB8AC3E}">
        <p14:creationId xmlns:p14="http://schemas.microsoft.com/office/powerpoint/2010/main" val="8529376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Break_2">
    <p:bg>
      <p:bgRef idx="1003">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8C1E9A-112C-4368-A078-BAB23757FA42}"/>
              </a:ext>
            </a:extLst>
          </p:cNvPr>
          <p:cNvSpPr>
            <a:spLocks noGrp="1"/>
          </p:cNvSpPr>
          <p:nvPr>
            <p:ph type="ctrTitle" hasCustomPrompt="1"/>
          </p:nvPr>
        </p:nvSpPr>
        <p:spPr>
          <a:xfrm>
            <a:off x="1524000" y="1121203"/>
            <a:ext cx="9144000" cy="2387600"/>
          </a:xfrm>
          <a:prstGeom prst="rect">
            <a:avLst/>
          </a:prstGeom>
        </p:spPr>
        <p:txBody>
          <a:bodyPr anchor="b"/>
          <a:lstStyle>
            <a:lvl1pPr algn="ctr">
              <a:defRPr sz="6000"/>
            </a:lvl1pPr>
          </a:lstStyle>
          <a:p>
            <a:r>
              <a:rPr lang="en-US"/>
              <a:t>CLICK TO EDIT SECTION TITLE</a:t>
            </a:r>
          </a:p>
        </p:txBody>
      </p:sp>
      <p:cxnSp>
        <p:nvCxnSpPr>
          <p:cNvPr id="12" name="Straight Connector 11">
            <a:extLst>
              <a:ext uri="{FF2B5EF4-FFF2-40B4-BE49-F238E27FC236}">
                <a16:creationId xmlns:a16="http://schemas.microsoft.com/office/drawing/2014/main" id="{EB06D042-5974-4D78-9621-51396F0B9100}"/>
              </a:ext>
            </a:extLst>
          </p:cNvPr>
          <p:cNvCxnSpPr/>
          <p:nvPr userDrawn="1"/>
        </p:nvCxnSpPr>
        <p:spPr>
          <a:xfrm>
            <a:off x="2797878" y="3713445"/>
            <a:ext cx="659624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2A5648DC-CFE1-47CE-80A2-92C06029DC31}"/>
              </a:ext>
            </a:extLst>
          </p:cNvPr>
          <p:cNvSpPr>
            <a:spLocks noGrp="1"/>
          </p:cNvSpPr>
          <p:nvPr>
            <p:ph type="body" sz="quarter" idx="12" hasCustomPrompt="1"/>
          </p:nvPr>
        </p:nvSpPr>
        <p:spPr>
          <a:xfrm>
            <a:off x="1485900" y="3867150"/>
            <a:ext cx="9220200" cy="1339850"/>
          </a:xfrm>
          <a:prstGeom prst="rect">
            <a:avLst/>
          </a:prstGeom>
        </p:spPr>
        <p:txBody>
          <a:bodyPr>
            <a:normAutofit/>
          </a:bodyPr>
          <a:lstStyle>
            <a:lvl1pPr marL="0" indent="0" algn="ctr">
              <a:buNone/>
              <a:defRPr sz="4000">
                <a:solidFill>
                  <a:schemeClr val="bg2">
                    <a:lumMod val="75000"/>
                  </a:schemeClr>
                </a:solidFill>
              </a:defRPr>
            </a:lvl1pPr>
          </a:lstStyle>
          <a:p>
            <a:pPr lvl="0"/>
            <a:r>
              <a:rPr lang="en-US" sz="4000"/>
              <a:t>Click to Enter Subtitle</a:t>
            </a:r>
            <a:endParaRPr lang="en-US"/>
          </a:p>
        </p:txBody>
      </p:sp>
    </p:spTree>
    <p:extLst>
      <p:ext uri="{BB962C8B-B14F-4D97-AF65-F5344CB8AC3E}">
        <p14:creationId xmlns:p14="http://schemas.microsoft.com/office/powerpoint/2010/main" val="347672048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990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83EEF3-6978-4238-9CDB-7E266F3F9D5F}"/>
              </a:ext>
            </a:extLst>
          </p:cNvPr>
          <p:cNvSpPr txBox="1"/>
          <p:nvPr userDrawn="1"/>
        </p:nvSpPr>
        <p:spPr>
          <a:xfrm>
            <a:off x="2747269" y="2559702"/>
            <a:ext cx="6277147" cy="1323439"/>
          </a:xfrm>
          <a:prstGeom prst="rect">
            <a:avLst/>
          </a:prstGeom>
          <a:noFill/>
        </p:spPr>
        <p:txBody>
          <a:bodyPr wrap="square" rtlCol="0">
            <a:spAutoFit/>
          </a:bodyPr>
          <a:lstStyle/>
          <a:p>
            <a:pPr algn="ctr"/>
            <a:r>
              <a:rPr lang="en-US" sz="8000" b="0">
                <a:solidFill>
                  <a:srgbClr val="FF6700"/>
                </a:solidFill>
                <a:latin typeface="Calibri" panose="020F0502020204030204" pitchFamily="34" charset="0"/>
                <a:cs typeface="Calibri" panose="020F0502020204030204" pitchFamily="34" charset="0"/>
              </a:rPr>
              <a:t>THANK </a:t>
            </a:r>
            <a:r>
              <a:rPr lang="en-US" sz="8000" b="0">
                <a:solidFill>
                  <a:srgbClr val="013E7D"/>
                </a:solidFill>
                <a:latin typeface="Calibri" panose="020F0502020204030204" pitchFamily="34" charset="0"/>
                <a:cs typeface="Calibri" panose="020F0502020204030204" pitchFamily="34" charset="0"/>
              </a:rPr>
              <a:t>YOU</a:t>
            </a:r>
          </a:p>
        </p:txBody>
      </p:sp>
      <p:sp>
        <p:nvSpPr>
          <p:cNvPr id="4" name="Rectangle 3">
            <a:extLst>
              <a:ext uri="{FF2B5EF4-FFF2-40B4-BE49-F238E27FC236}">
                <a16:creationId xmlns:a16="http://schemas.microsoft.com/office/drawing/2014/main" id="{0AF9A946-1283-4F6E-9747-665065AFD1B0}"/>
              </a:ext>
            </a:extLst>
          </p:cNvPr>
          <p:cNvSpPr/>
          <p:nvPr userDrawn="1"/>
        </p:nvSpPr>
        <p:spPr>
          <a:xfrm>
            <a:off x="2324100" y="2226213"/>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41ACCEB-89FF-4003-B513-914FF6C19955}"/>
              </a:ext>
            </a:extLst>
          </p:cNvPr>
          <p:cNvSpPr/>
          <p:nvPr userDrawn="1"/>
        </p:nvSpPr>
        <p:spPr>
          <a:xfrm rot="5400000">
            <a:off x="2895528" y="1700577"/>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52F642-8850-4EE6-920D-0A4B60A6ED29}"/>
              </a:ext>
            </a:extLst>
          </p:cNvPr>
          <p:cNvSpPr/>
          <p:nvPr userDrawn="1"/>
        </p:nvSpPr>
        <p:spPr>
          <a:xfrm rot="5400000">
            <a:off x="8846820" y="3589164"/>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471B1DB-2FAA-407E-AD9E-2919F74C0081}"/>
              </a:ext>
            </a:extLst>
          </p:cNvPr>
          <p:cNvSpPr/>
          <p:nvPr userDrawn="1"/>
        </p:nvSpPr>
        <p:spPr>
          <a:xfrm rot="10800000">
            <a:off x="9418248" y="3063528"/>
            <a:ext cx="45720" cy="10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2A6C3F1-CBB5-4EC8-9734-2B2F6BBF2AC1}"/>
              </a:ext>
            </a:extLst>
          </p:cNvPr>
          <p:cNvSpPr/>
          <p:nvPr userDrawn="1"/>
        </p:nvSpPr>
        <p:spPr>
          <a:xfrm>
            <a:off x="2270125" y="2060576"/>
            <a:ext cx="107950" cy="1142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CE522A-3208-4CE6-9EB5-0A3E41983D17}"/>
              </a:ext>
            </a:extLst>
          </p:cNvPr>
          <p:cNvSpPr/>
          <p:nvPr userDrawn="1"/>
        </p:nvSpPr>
        <p:spPr>
          <a:xfrm>
            <a:off x="2133600" y="2156624"/>
            <a:ext cx="88900" cy="936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B9A1365-5ABB-4D03-A8D5-07ECC7BD4D43}"/>
              </a:ext>
            </a:extLst>
          </p:cNvPr>
          <p:cNvSpPr/>
          <p:nvPr userDrawn="1"/>
        </p:nvSpPr>
        <p:spPr>
          <a:xfrm>
            <a:off x="2239847" y="2262497"/>
            <a:ext cx="55793" cy="70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96B89A3-1B01-4040-AC16-4B754923EB3D}"/>
              </a:ext>
            </a:extLst>
          </p:cNvPr>
          <p:cNvSpPr/>
          <p:nvPr userDrawn="1"/>
        </p:nvSpPr>
        <p:spPr>
          <a:xfrm>
            <a:off x="9857800" y="3845041"/>
            <a:ext cx="349420" cy="3698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8B80E91-5AA4-42C9-909A-7DDC98B39445}"/>
              </a:ext>
            </a:extLst>
          </p:cNvPr>
          <p:cNvSpPr/>
          <p:nvPr userDrawn="1"/>
        </p:nvSpPr>
        <p:spPr>
          <a:xfrm>
            <a:off x="9467956" y="4161287"/>
            <a:ext cx="287758" cy="3032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3BCB0F-72B3-4BE8-BBF1-73D8E42B6B1E}"/>
              </a:ext>
            </a:extLst>
          </p:cNvPr>
          <p:cNvSpPr/>
          <p:nvPr userDrawn="1"/>
        </p:nvSpPr>
        <p:spPr>
          <a:xfrm>
            <a:off x="9780202" y="4506394"/>
            <a:ext cx="180595" cy="228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ECAF6ED-9A92-47F3-832E-DE621B3C141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242"/>
            <a:ext cx="12192000" cy="6861242"/>
          </a:xfrm>
          <a:prstGeom prst="rect">
            <a:avLst/>
          </a:prstGeom>
        </p:spPr>
      </p:pic>
    </p:spTree>
    <p:extLst>
      <p:ext uri="{BB962C8B-B14F-4D97-AF65-F5344CB8AC3E}">
        <p14:creationId xmlns:p14="http://schemas.microsoft.com/office/powerpoint/2010/main" val="1530781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ompact">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0B76702-9F6D-4AAA-9C24-7FE2CA8BEE9E}"/>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88578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096795-A912-40C6-87F5-C368132E6572}"/>
              </a:ext>
            </a:extLst>
          </p:cNvPr>
          <p:cNvSpPr>
            <a:spLocks noGrp="1"/>
          </p:cNvSpPr>
          <p:nvPr>
            <p:ph idx="1" hasCustomPrompt="1"/>
          </p:nvPr>
        </p:nvSpPr>
        <p:spPr>
          <a:xfrm>
            <a:off x="1780675" y="1944304"/>
            <a:ext cx="8566484" cy="3359216"/>
          </a:xfrm>
          <a:prstGeom prst="rect">
            <a:avLst/>
          </a:prstGeom>
        </p:spPr>
        <p:txBody>
          <a:bodyPr>
            <a:noAutofit/>
          </a:bodyPr>
          <a:lstStyle>
            <a:lvl1pPr>
              <a:defRPr sz="2400">
                <a:solidFill>
                  <a:schemeClr val="bg2">
                    <a:lumMod val="75000"/>
                  </a:schemeClr>
                </a:solidFill>
              </a:defRPr>
            </a:lvl1pPr>
            <a:lvl2pPr>
              <a:defRPr sz="2200">
                <a:solidFill>
                  <a:schemeClr val="bg2">
                    <a:lumMod val="75000"/>
                  </a:schemeClr>
                </a:solidFill>
              </a:defRPr>
            </a:lvl2pPr>
            <a:lvl3pPr>
              <a:defRPr sz="2000">
                <a:solidFill>
                  <a:schemeClr val="bg2">
                    <a:lumMod val="75000"/>
                  </a:schemeClr>
                </a:solidFill>
              </a:defRPr>
            </a:lvl3pPr>
            <a:lvl4pPr>
              <a:defRPr sz="1800">
                <a:solidFill>
                  <a:schemeClr val="bg2">
                    <a:lumMod val="75000"/>
                  </a:schemeClr>
                </a:solidFill>
              </a:defRPr>
            </a:lvl4pPr>
            <a:lvl5pPr>
              <a:defRPr sz="16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46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11">
            <a:extLst>
              <a:ext uri="{FF2B5EF4-FFF2-40B4-BE49-F238E27FC236}">
                <a16:creationId xmlns:a16="http://schemas.microsoft.com/office/drawing/2014/main" id="{93069341-8A63-4F4B-8D64-C3EEB1D0E854}"/>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3272670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Area">
    <p:spTree>
      <p:nvGrpSpPr>
        <p:cNvPr id="1" name=""/>
        <p:cNvGrpSpPr/>
        <p:nvPr/>
      </p:nvGrpSpPr>
      <p:grpSpPr>
        <a:xfrm>
          <a:off x="0" y="0"/>
          <a:ext cx="0" cy="0"/>
          <a:chOff x="0" y="0"/>
          <a:chExt cx="0" cy="0"/>
        </a:xfrm>
      </p:grpSpPr>
      <p:sp>
        <p:nvSpPr>
          <p:cNvPr id="3" name="Text Placeholder 28">
            <a:extLst>
              <a:ext uri="{FF2B5EF4-FFF2-40B4-BE49-F238E27FC236}">
                <a16:creationId xmlns:a16="http://schemas.microsoft.com/office/drawing/2014/main" id="{724D9955-0283-47AD-9971-949722A0608D}"/>
              </a:ext>
            </a:extLst>
          </p:cNvPr>
          <p:cNvSpPr>
            <a:spLocks noGrp="1"/>
          </p:cNvSpPr>
          <p:nvPr>
            <p:ph type="body" sz="quarter" idx="10"/>
          </p:nvPr>
        </p:nvSpPr>
        <p:spPr>
          <a:xfrm>
            <a:off x="602673"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2">
            <a:extLst>
              <a:ext uri="{FF2B5EF4-FFF2-40B4-BE49-F238E27FC236}">
                <a16:creationId xmlns:a16="http://schemas.microsoft.com/office/drawing/2014/main" id="{FC7F0345-AC3D-410C-B0A9-CF73FCB7F474}"/>
              </a:ext>
            </a:extLst>
          </p:cNvPr>
          <p:cNvSpPr>
            <a:spLocks noGrp="1"/>
          </p:cNvSpPr>
          <p:nvPr>
            <p:ph type="body" sz="quarter" idx="12" hasCustomPrompt="1"/>
          </p:nvPr>
        </p:nvSpPr>
        <p:spPr>
          <a:xfrm>
            <a:off x="602673" y="1249558"/>
            <a:ext cx="3429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6" name="Text Placeholder 32">
            <a:extLst>
              <a:ext uri="{FF2B5EF4-FFF2-40B4-BE49-F238E27FC236}">
                <a16:creationId xmlns:a16="http://schemas.microsoft.com/office/drawing/2014/main" id="{33CFCB20-6807-45CA-8564-19E3309F8F53}"/>
              </a:ext>
            </a:extLst>
          </p:cNvPr>
          <p:cNvSpPr>
            <a:spLocks noGrp="1"/>
          </p:cNvSpPr>
          <p:nvPr>
            <p:ph type="body" sz="quarter" idx="13" hasCustomPrompt="1"/>
          </p:nvPr>
        </p:nvSpPr>
        <p:spPr>
          <a:xfrm>
            <a:off x="4269520" y="1249558"/>
            <a:ext cx="3429000" cy="731520"/>
          </a:xfrm>
          <a:prstGeom prst="rect">
            <a:avLst/>
          </a:prstGeom>
          <a:solidFill>
            <a:schemeClr val="accent3"/>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7" name="Text Placeholder 32">
            <a:extLst>
              <a:ext uri="{FF2B5EF4-FFF2-40B4-BE49-F238E27FC236}">
                <a16:creationId xmlns:a16="http://schemas.microsoft.com/office/drawing/2014/main" id="{02B42338-61A8-4011-B494-5ED8D1255505}"/>
              </a:ext>
            </a:extLst>
          </p:cNvPr>
          <p:cNvSpPr>
            <a:spLocks noGrp="1"/>
          </p:cNvSpPr>
          <p:nvPr>
            <p:ph type="body" sz="quarter" idx="14" hasCustomPrompt="1"/>
          </p:nvPr>
        </p:nvSpPr>
        <p:spPr>
          <a:xfrm>
            <a:off x="7936367" y="1249558"/>
            <a:ext cx="3429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3</a:t>
            </a:r>
          </a:p>
        </p:txBody>
      </p:sp>
      <p:sp>
        <p:nvSpPr>
          <p:cNvPr id="8" name="Text Placeholder 28">
            <a:extLst>
              <a:ext uri="{FF2B5EF4-FFF2-40B4-BE49-F238E27FC236}">
                <a16:creationId xmlns:a16="http://schemas.microsoft.com/office/drawing/2014/main" id="{78F4C7A6-C684-42FA-ACDD-0EB5664804D9}"/>
              </a:ext>
            </a:extLst>
          </p:cNvPr>
          <p:cNvSpPr>
            <a:spLocks noGrp="1"/>
          </p:cNvSpPr>
          <p:nvPr>
            <p:ph type="body" sz="quarter" idx="15"/>
          </p:nvPr>
        </p:nvSpPr>
        <p:spPr>
          <a:xfrm>
            <a:off x="4269520"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8">
            <a:extLst>
              <a:ext uri="{FF2B5EF4-FFF2-40B4-BE49-F238E27FC236}">
                <a16:creationId xmlns:a16="http://schemas.microsoft.com/office/drawing/2014/main" id="{C6649310-DCF7-4267-A9BD-096D2924923F}"/>
              </a:ext>
            </a:extLst>
          </p:cNvPr>
          <p:cNvSpPr>
            <a:spLocks noGrp="1"/>
          </p:cNvSpPr>
          <p:nvPr>
            <p:ph type="body" sz="quarter" idx="16"/>
          </p:nvPr>
        </p:nvSpPr>
        <p:spPr>
          <a:xfrm>
            <a:off x="7936367" y="2070201"/>
            <a:ext cx="3429000" cy="3657600"/>
          </a:xfrm>
          <a:prstGeom prst="rect">
            <a:avLst/>
          </a:prstGeom>
          <a:ln>
            <a:solidFill>
              <a:schemeClr val="bg1">
                <a:lumMod val="75000"/>
              </a:schemeClr>
            </a:solidFill>
          </a:ln>
        </p:spPr>
        <p:txBody>
          <a:bodyPr/>
          <a:lstStyle>
            <a:lvl1pPr>
              <a:defRPr>
                <a:solidFill>
                  <a:schemeClr val="bg2">
                    <a:lumMod val="75000"/>
                  </a:schemeClr>
                </a:solidFill>
              </a:defRPr>
            </a:lvl1pPr>
            <a:lvl2pPr>
              <a:defRPr>
                <a:solidFill>
                  <a:schemeClr val="bg2">
                    <a:lumMod val="75000"/>
                  </a:schemeClr>
                </a:solidFill>
              </a:defRPr>
            </a:lvl2pPr>
            <a:lvl3pPr>
              <a:defRPr>
                <a:solidFill>
                  <a:schemeClr val="bg2">
                    <a:lumMod val="75000"/>
                  </a:schemeClr>
                </a:solidFill>
              </a:defRPr>
            </a:lvl3pPr>
            <a:lvl4pPr>
              <a:defRPr>
                <a:solidFill>
                  <a:schemeClr val="bg2">
                    <a:lumMod val="75000"/>
                  </a:schemeClr>
                </a:solidFill>
              </a:defRPr>
            </a:lvl4pPr>
            <a:lvl5pP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1">
            <a:extLst>
              <a:ext uri="{FF2B5EF4-FFF2-40B4-BE49-F238E27FC236}">
                <a16:creationId xmlns:a16="http://schemas.microsoft.com/office/drawing/2014/main" id="{9C601A7C-2FDA-412E-BA42-148189F74F67}"/>
              </a:ext>
            </a:extLst>
          </p:cNvPr>
          <p:cNvSpPr>
            <a:spLocks noGrp="1"/>
          </p:cNvSpPr>
          <p:nvPr>
            <p:ph type="title"/>
          </p:nvPr>
        </p:nvSpPr>
        <p:spPr>
          <a:xfrm>
            <a:off x="239082" y="348362"/>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4079745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Are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291698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28">
            <a:extLst>
              <a:ext uri="{FF2B5EF4-FFF2-40B4-BE49-F238E27FC236}">
                <a16:creationId xmlns:a16="http://schemas.microsoft.com/office/drawing/2014/main" id="{CBCA4D4E-FE17-4453-990F-769E721FF022}"/>
              </a:ext>
            </a:extLst>
          </p:cNvPr>
          <p:cNvSpPr>
            <a:spLocks noGrp="1"/>
          </p:cNvSpPr>
          <p:nvPr>
            <p:ph type="body" sz="quarter" idx="10" hasCustomPrompt="1"/>
          </p:nvPr>
        </p:nvSpPr>
        <p:spPr>
          <a:xfrm>
            <a:off x="1103186"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9" name="Text Placeholder 32">
            <a:extLst>
              <a:ext uri="{FF2B5EF4-FFF2-40B4-BE49-F238E27FC236}">
                <a16:creationId xmlns:a16="http://schemas.microsoft.com/office/drawing/2014/main" id="{5593AA97-AACB-4750-ABF0-A1F0DB9CBEB5}"/>
              </a:ext>
            </a:extLst>
          </p:cNvPr>
          <p:cNvSpPr>
            <a:spLocks noGrp="1"/>
          </p:cNvSpPr>
          <p:nvPr>
            <p:ph type="body" sz="quarter" idx="12" hasCustomPrompt="1"/>
          </p:nvPr>
        </p:nvSpPr>
        <p:spPr>
          <a:xfrm>
            <a:off x="1103186" y="1250327"/>
            <a:ext cx="4572000" cy="731520"/>
          </a:xfrm>
          <a:prstGeom prst="rect">
            <a:avLst/>
          </a:prstGeom>
          <a:solidFill>
            <a:schemeClr val="bg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1</a:t>
            </a:r>
          </a:p>
        </p:txBody>
      </p:sp>
      <p:sp>
        <p:nvSpPr>
          <p:cNvPr id="10" name="Text Placeholder 32">
            <a:extLst>
              <a:ext uri="{FF2B5EF4-FFF2-40B4-BE49-F238E27FC236}">
                <a16:creationId xmlns:a16="http://schemas.microsoft.com/office/drawing/2014/main" id="{35390592-13F8-4E0E-98C6-4CD3BBC2EBF6}"/>
              </a:ext>
            </a:extLst>
          </p:cNvPr>
          <p:cNvSpPr>
            <a:spLocks noGrp="1"/>
          </p:cNvSpPr>
          <p:nvPr>
            <p:ph type="body" sz="quarter" idx="14" hasCustomPrompt="1"/>
          </p:nvPr>
        </p:nvSpPr>
        <p:spPr>
          <a:xfrm>
            <a:off x="6096000" y="1250327"/>
            <a:ext cx="4572000" cy="731520"/>
          </a:xfrm>
          <a:prstGeom prst="rect">
            <a:avLst/>
          </a:prstGeom>
          <a:solidFill>
            <a:schemeClr val="accent2"/>
          </a:solidFill>
        </p:spPr>
        <p:txBody>
          <a:bodyPr anchor="ctr"/>
          <a:lstStyle>
            <a:lvl1pPr marL="0" indent="0" algn="ctr">
              <a:lnSpc>
                <a:spcPct val="100000"/>
              </a:lnSpc>
              <a:spcBef>
                <a:spcPts val="0"/>
              </a:spcBef>
              <a:buNone/>
              <a:defRPr spc="300" baseline="0">
                <a:solidFill>
                  <a:schemeClr val="bg1"/>
                </a:solidFill>
              </a:defRPr>
            </a:lvl1pPr>
          </a:lstStyle>
          <a:p>
            <a:pPr lvl="0"/>
            <a:r>
              <a:rPr lang="en-US"/>
              <a:t>COLUMN 2</a:t>
            </a:r>
          </a:p>
        </p:txBody>
      </p:sp>
      <p:sp>
        <p:nvSpPr>
          <p:cNvPr id="11" name="Text Placeholder 28">
            <a:extLst>
              <a:ext uri="{FF2B5EF4-FFF2-40B4-BE49-F238E27FC236}">
                <a16:creationId xmlns:a16="http://schemas.microsoft.com/office/drawing/2014/main" id="{01D1A96D-F7A8-4548-9756-C5F40F9070EF}"/>
              </a:ext>
            </a:extLst>
          </p:cNvPr>
          <p:cNvSpPr>
            <a:spLocks noGrp="1"/>
          </p:cNvSpPr>
          <p:nvPr>
            <p:ph type="body" sz="quarter" idx="16" hasCustomPrompt="1"/>
          </p:nvPr>
        </p:nvSpPr>
        <p:spPr>
          <a:xfrm>
            <a:off x="6096000" y="2070970"/>
            <a:ext cx="4572000" cy="3657600"/>
          </a:xfrm>
          <a:prstGeom prst="rect">
            <a:avLst/>
          </a:prstGeom>
          <a:ln>
            <a:solidFill>
              <a:schemeClr val="bg1">
                <a:lumMod val="75000"/>
              </a:schemeClr>
            </a:solidFill>
          </a:ln>
        </p:spPr>
        <p:txBody>
          <a:bodyPr/>
          <a:lstStyle>
            <a:lvl1pPr>
              <a:defRPr>
                <a:solidFill>
                  <a:schemeClr val="bg2">
                    <a:lumMod val="75000"/>
                  </a:schemeClr>
                </a:solidFill>
              </a:defRPr>
            </a:lvl1pPr>
          </a:lstStyle>
          <a:p>
            <a:pPr lvl="0"/>
            <a:r>
              <a:rPr lang="en-US"/>
              <a:t>If text not needed, then replace with one spacebar</a:t>
            </a:r>
          </a:p>
        </p:txBody>
      </p:sp>
      <p:sp>
        <p:nvSpPr>
          <p:cNvPr id="15" name="Title 11">
            <a:extLst>
              <a:ext uri="{FF2B5EF4-FFF2-40B4-BE49-F238E27FC236}">
                <a16:creationId xmlns:a16="http://schemas.microsoft.com/office/drawing/2014/main" id="{8B3353BB-3485-437A-AF67-A580E48B03DA}"/>
              </a:ext>
            </a:extLst>
          </p:cNvPr>
          <p:cNvSpPr>
            <a:spLocks noGrp="1"/>
          </p:cNvSpPr>
          <p:nvPr>
            <p:ph type="title"/>
          </p:nvPr>
        </p:nvSpPr>
        <p:spPr>
          <a:xfrm>
            <a:off x="239082" y="230376"/>
            <a:ext cx="11713837" cy="685800"/>
          </a:xfrm>
          <a:prstGeom prst="rect">
            <a:avLst/>
          </a:prstGeom>
        </p:spPr>
        <p:txBody>
          <a:bodyPr/>
          <a:lstStyle>
            <a:lvl1pPr>
              <a:defRPr cap="all" baseline="0"/>
            </a:lvl1pPr>
          </a:lstStyle>
          <a:p>
            <a:r>
              <a:rPr lang="en-US"/>
              <a:t>Click to edit Master title style</a:t>
            </a:r>
          </a:p>
        </p:txBody>
      </p:sp>
    </p:spTree>
    <p:extLst>
      <p:ext uri="{BB962C8B-B14F-4D97-AF65-F5344CB8AC3E}">
        <p14:creationId xmlns:p14="http://schemas.microsoft.com/office/powerpoint/2010/main" val="2944545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Break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1EDF-E8F0-45E9-AEE6-F8FDA7098DA5}"/>
              </a:ext>
            </a:extLst>
          </p:cNvPr>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en-US"/>
              <a:t>CLICK TO EDIT SECTION TITLE</a:t>
            </a:r>
          </a:p>
        </p:txBody>
      </p:sp>
    </p:spTree>
    <p:extLst>
      <p:ext uri="{BB962C8B-B14F-4D97-AF65-F5344CB8AC3E}">
        <p14:creationId xmlns:p14="http://schemas.microsoft.com/office/powerpoint/2010/main" val="85293769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Break_2">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8C1E9A-112C-4368-A078-BAB23757FA42}"/>
              </a:ext>
            </a:extLst>
          </p:cNvPr>
          <p:cNvSpPr>
            <a:spLocks noGrp="1"/>
          </p:cNvSpPr>
          <p:nvPr>
            <p:ph type="ctrTitle" hasCustomPrompt="1"/>
          </p:nvPr>
        </p:nvSpPr>
        <p:spPr>
          <a:xfrm>
            <a:off x="1524000" y="1121203"/>
            <a:ext cx="9144000" cy="2387600"/>
          </a:xfrm>
          <a:prstGeom prst="rect">
            <a:avLst/>
          </a:prstGeom>
        </p:spPr>
        <p:txBody>
          <a:bodyPr anchor="b"/>
          <a:lstStyle>
            <a:lvl1pPr algn="ctr">
              <a:defRPr sz="6000"/>
            </a:lvl1pPr>
          </a:lstStyle>
          <a:p>
            <a:r>
              <a:rPr lang="en-US"/>
              <a:t>CLICK TO EDIT SECTION TITLE</a:t>
            </a:r>
          </a:p>
        </p:txBody>
      </p:sp>
      <p:cxnSp>
        <p:nvCxnSpPr>
          <p:cNvPr id="12" name="Straight Connector 11">
            <a:extLst>
              <a:ext uri="{FF2B5EF4-FFF2-40B4-BE49-F238E27FC236}">
                <a16:creationId xmlns:a16="http://schemas.microsoft.com/office/drawing/2014/main" id="{EB06D042-5974-4D78-9621-51396F0B9100}"/>
              </a:ext>
            </a:extLst>
          </p:cNvPr>
          <p:cNvCxnSpPr/>
          <p:nvPr/>
        </p:nvCxnSpPr>
        <p:spPr>
          <a:xfrm>
            <a:off x="2797878" y="3713445"/>
            <a:ext cx="659624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2A5648DC-CFE1-47CE-80A2-92C06029DC31}"/>
              </a:ext>
            </a:extLst>
          </p:cNvPr>
          <p:cNvSpPr>
            <a:spLocks noGrp="1"/>
          </p:cNvSpPr>
          <p:nvPr>
            <p:ph type="body" sz="quarter" idx="12" hasCustomPrompt="1"/>
          </p:nvPr>
        </p:nvSpPr>
        <p:spPr>
          <a:xfrm>
            <a:off x="1485900" y="3867150"/>
            <a:ext cx="9220200" cy="1339850"/>
          </a:xfrm>
          <a:prstGeom prst="rect">
            <a:avLst/>
          </a:prstGeom>
        </p:spPr>
        <p:txBody>
          <a:bodyPr>
            <a:normAutofit/>
          </a:bodyPr>
          <a:lstStyle>
            <a:lvl1pPr marL="0" indent="0" algn="ctr">
              <a:buNone/>
              <a:defRPr sz="4000">
                <a:solidFill>
                  <a:schemeClr val="bg2">
                    <a:lumMod val="75000"/>
                  </a:schemeClr>
                </a:solidFill>
              </a:defRPr>
            </a:lvl1pPr>
          </a:lstStyle>
          <a:p>
            <a:pPr lvl="0"/>
            <a:r>
              <a:rPr lang="en-US" sz="4000"/>
              <a:t>Click to Enter Subtitle</a:t>
            </a:r>
            <a:endParaRPr lang="en-US"/>
          </a:p>
        </p:txBody>
      </p:sp>
    </p:spTree>
    <p:extLst>
      <p:ext uri="{BB962C8B-B14F-4D97-AF65-F5344CB8AC3E}">
        <p14:creationId xmlns:p14="http://schemas.microsoft.com/office/powerpoint/2010/main" val="347672048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5.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5.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9.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9.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509BE24-0C22-4432-95CC-AE539CB7389F}"/>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 y="-3242"/>
            <a:ext cx="12192000" cy="6861242"/>
          </a:xfrm>
          <a:prstGeom prst="rect">
            <a:avLst/>
          </a:prstGeom>
        </p:spPr>
      </p:pic>
      <p:graphicFrame>
        <p:nvGraphicFramePr>
          <p:cNvPr id="6" name="Object 5" hidden="1"/>
          <p:cNvGraphicFramePr>
            <a:graphicFrameLocks noChangeAspect="1"/>
          </p:cNvGraphicFramePr>
          <p:nvPr>
            <p:custDataLst>
              <p:tags r:id="rId13"/>
            </p:custDataLst>
            <p:extLst>
              <p:ext uri="{D42A27DB-BD31-4B8C-83A1-F6EECF244321}">
                <p14:modId xmlns:p14="http://schemas.microsoft.com/office/powerpoint/2010/main" val="1829438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6" name="Objec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5" name="Slide Number Placeholder 5">
            <a:extLst>
              <a:ext uri="{FF2B5EF4-FFF2-40B4-BE49-F238E27FC236}">
                <a16:creationId xmlns:a16="http://schemas.microsoft.com/office/drawing/2014/main" id="{AED90B17-37B0-4263-A567-7114AA39F171}"/>
              </a:ext>
            </a:extLst>
          </p:cNvPr>
          <p:cNvSpPr txBox="1">
            <a:spLocks/>
          </p:cNvSpPr>
          <p:nvPr/>
        </p:nvSpPr>
        <p:spPr>
          <a:xfrm>
            <a:off x="-1" y="6574971"/>
            <a:ext cx="364671" cy="184666"/>
          </a:xfrm>
          <a:prstGeom prst="rect">
            <a:avLst/>
          </a:prstGeom>
          <a:noFill/>
        </p:spPr>
        <p:txBody>
          <a:bodyPr wrap="square" lIns="15240" tIns="7620" rIns="15240" bIns="7620" rtlCol="0">
            <a:spAutoFit/>
          </a:bodyPr>
          <a:lstStyle>
            <a:defPPr>
              <a:defRPr lang="en-US"/>
            </a:defPPr>
            <a:lvl1pPr marL="0" algn="l" defTabSz="914400" rtl="0" eaLnBrk="1" latinLnBrk="0" hangingPunct="1">
              <a:defRPr lang="en-US" sz="1600" kern="1200" smtClean="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9E03BBD-2452-4D2D-AD10-405441971766}" type="slidenum">
              <a:rPr lang="en-US" sz="1100" smtClean="0">
                <a:solidFill>
                  <a:schemeClr val="bg1"/>
                </a:solidFill>
              </a:rPr>
              <a:pPr algn="ctr"/>
              <a:t>‹#›</a:t>
            </a:fld>
            <a:endParaRPr lang="en-US" sz="1100">
              <a:solidFill>
                <a:schemeClr val="bg1"/>
              </a:solidFill>
            </a:endParaRPr>
          </a:p>
        </p:txBody>
      </p:sp>
    </p:spTree>
    <p:extLst>
      <p:ext uri="{BB962C8B-B14F-4D97-AF65-F5344CB8AC3E}">
        <p14:creationId xmlns:p14="http://schemas.microsoft.com/office/powerpoint/2010/main" val="190090374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9" r:id="rId8"/>
    <p:sldLayoutId id="2147483700" r:id="rId9"/>
    <p:sldLayoutId id="2147483701" r:id="rId10"/>
    <p:sldLayoutId id="2147483702" r:id="rId11"/>
  </p:sldLayoutIdLst>
  <p:hf sldNum="0" hdr="0" ftr="0" dt="0"/>
  <p:txStyles>
    <p:titleStyle>
      <a:lvl1pPr algn="ctr"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1pPr>
      <a:lvl2pPr marL="457200" indent="-2286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2pPr>
      <a:lvl3pPr marL="800100" indent="-279400" algn="l" defTabSz="914400" rtl="0" eaLnBrk="1" latinLnBrk="0" hangingPunct="1">
        <a:lnSpc>
          <a:spcPct val="90000"/>
        </a:lnSpc>
        <a:spcBef>
          <a:spcPts val="500"/>
        </a:spcBef>
        <a:buClr>
          <a:schemeClr val="accent2"/>
        </a:buClr>
        <a:buFont typeface="Calibri Light" panose="020F0302020204030204" pitchFamily="34" charset="0"/>
        <a:buChar char="─"/>
        <a:tabLst>
          <a:tab pos="749300" algn="l"/>
        </a:tabLst>
        <a:defRPr sz="1600" kern="1200">
          <a:solidFill>
            <a:schemeClr val="tx2">
              <a:lumMod val="50000"/>
            </a:schemeClr>
          </a:solidFill>
          <a:latin typeface="+mn-lt"/>
          <a:ea typeface="+mn-ea"/>
          <a:cs typeface="+mn-cs"/>
        </a:defRPr>
      </a:lvl3pPr>
      <a:lvl4pPr marL="1028700" indent="-228600" algn="l" defTabSz="914400" rtl="0" eaLnBrk="1" latinLnBrk="0" hangingPunct="1">
        <a:lnSpc>
          <a:spcPct val="90000"/>
        </a:lnSpc>
        <a:spcBef>
          <a:spcPts val="5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4pPr>
      <a:lvl5pPr marL="12573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509BE24-0C22-4432-95CC-AE539CB7389F}"/>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1" y="-3242"/>
            <a:ext cx="12192000" cy="6861242"/>
          </a:xfrm>
          <a:prstGeom prst="rect">
            <a:avLst/>
          </a:prstGeom>
        </p:spPr>
      </p:pic>
      <p:graphicFrame>
        <p:nvGraphicFramePr>
          <p:cNvPr id="6" name="Object 5" hidden="1"/>
          <p:cNvGraphicFramePr>
            <a:graphicFrameLocks noChangeAspect="1"/>
          </p:cNvGraphicFramePr>
          <p:nvPr userDrawn="1">
            <p:custDataLst>
              <p:tags r:id="rId13"/>
            </p:custDataLst>
            <p:extLst>
              <p:ext uri="{D42A27DB-BD31-4B8C-83A1-F6EECF244321}">
                <p14:modId xmlns:p14="http://schemas.microsoft.com/office/powerpoint/2010/main" val="1829438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6" name="Objec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5" name="Slide Number Placeholder 5">
            <a:extLst>
              <a:ext uri="{FF2B5EF4-FFF2-40B4-BE49-F238E27FC236}">
                <a16:creationId xmlns:a16="http://schemas.microsoft.com/office/drawing/2014/main" id="{AED90B17-37B0-4263-A567-7114AA39F171}"/>
              </a:ext>
            </a:extLst>
          </p:cNvPr>
          <p:cNvSpPr txBox="1">
            <a:spLocks/>
          </p:cNvSpPr>
          <p:nvPr userDrawn="1"/>
        </p:nvSpPr>
        <p:spPr>
          <a:xfrm>
            <a:off x="-1" y="6574971"/>
            <a:ext cx="364671" cy="184666"/>
          </a:xfrm>
          <a:prstGeom prst="rect">
            <a:avLst/>
          </a:prstGeom>
          <a:noFill/>
        </p:spPr>
        <p:txBody>
          <a:bodyPr wrap="square" lIns="15240" tIns="7620" rIns="15240" bIns="7620" rtlCol="0">
            <a:spAutoFit/>
          </a:bodyPr>
          <a:lstStyle>
            <a:defPPr>
              <a:defRPr lang="en-US"/>
            </a:defPPr>
            <a:lvl1pPr marL="0" algn="l" defTabSz="914400" rtl="0" eaLnBrk="1" latinLnBrk="0" hangingPunct="1">
              <a:defRPr lang="en-US" sz="1600" kern="1200" smtClean="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9E03BBD-2452-4D2D-AD10-405441971766}" type="slidenum">
              <a:rPr lang="en-US" sz="1100" smtClean="0">
                <a:solidFill>
                  <a:schemeClr val="bg1"/>
                </a:solidFill>
              </a:rPr>
              <a:pPr algn="ctr"/>
              <a:t>‹#›</a:t>
            </a:fld>
            <a:endParaRPr lang="en-US" sz="1100">
              <a:solidFill>
                <a:schemeClr val="bg1"/>
              </a:solidFill>
            </a:endParaRPr>
          </a:p>
        </p:txBody>
      </p:sp>
    </p:spTree>
    <p:extLst>
      <p:ext uri="{BB962C8B-B14F-4D97-AF65-F5344CB8AC3E}">
        <p14:creationId xmlns:p14="http://schemas.microsoft.com/office/powerpoint/2010/main" val="190090374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ftr="0" dt="0"/>
  <p:txStyles>
    <p:titleStyle>
      <a:lvl1pPr algn="ctr"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1pPr>
      <a:lvl2pPr marL="457200" indent="-2286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2pPr>
      <a:lvl3pPr marL="800100" indent="-279400" algn="l" defTabSz="914400" rtl="0" eaLnBrk="1" latinLnBrk="0" hangingPunct="1">
        <a:lnSpc>
          <a:spcPct val="90000"/>
        </a:lnSpc>
        <a:spcBef>
          <a:spcPts val="500"/>
        </a:spcBef>
        <a:buClr>
          <a:schemeClr val="accent2"/>
        </a:buClr>
        <a:buFont typeface="Calibri Light" panose="020F0302020204030204" pitchFamily="34" charset="0"/>
        <a:buChar char="─"/>
        <a:tabLst>
          <a:tab pos="749300" algn="l"/>
        </a:tabLst>
        <a:defRPr sz="1600" kern="1200">
          <a:solidFill>
            <a:schemeClr val="tx2">
              <a:lumMod val="50000"/>
            </a:schemeClr>
          </a:solidFill>
          <a:latin typeface="+mn-lt"/>
          <a:ea typeface="+mn-ea"/>
          <a:cs typeface="+mn-cs"/>
        </a:defRPr>
      </a:lvl3pPr>
      <a:lvl4pPr marL="1028700" indent="-228600" algn="l" defTabSz="914400" rtl="0" eaLnBrk="1" latinLnBrk="0" hangingPunct="1">
        <a:lnSpc>
          <a:spcPct val="90000"/>
        </a:lnSpc>
        <a:spcBef>
          <a:spcPts val="5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4pPr>
      <a:lvl5pPr marL="12573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509BE24-0C22-4432-95CC-AE539CB7389F}"/>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 y="-3242"/>
            <a:ext cx="12192000" cy="6861242"/>
          </a:xfrm>
          <a:prstGeom prst="rect">
            <a:avLst/>
          </a:prstGeom>
        </p:spPr>
      </p:pic>
      <p:graphicFrame>
        <p:nvGraphicFramePr>
          <p:cNvPr id="6" name="Object 5" hidden="1"/>
          <p:cNvGraphicFramePr>
            <a:graphicFrameLocks noChangeAspect="1"/>
          </p:cNvGraphicFramePr>
          <p:nvPr userDrawn="1">
            <p:custDataLst>
              <p:tags r:id="rId13"/>
            </p:custDataLst>
            <p:extLst>
              <p:ext uri="{D42A27DB-BD31-4B8C-83A1-F6EECF244321}">
                <p14:modId xmlns:p14="http://schemas.microsoft.com/office/powerpoint/2010/main" val="1829438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6" name="Objec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5" name="Slide Number Placeholder 5">
            <a:extLst>
              <a:ext uri="{FF2B5EF4-FFF2-40B4-BE49-F238E27FC236}">
                <a16:creationId xmlns:a16="http://schemas.microsoft.com/office/drawing/2014/main" id="{AED90B17-37B0-4263-A567-7114AA39F171}"/>
              </a:ext>
            </a:extLst>
          </p:cNvPr>
          <p:cNvSpPr txBox="1">
            <a:spLocks/>
          </p:cNvSpPr>
          <p:nvPr userDrawn="1"/>
        </p:nvSpPr>
        <p:spPr>
          <a:xfrm>
            <a:off x="-1" y="6574971"/>
            <a:ext cx="364671" cy="184666"/>
          </a:xfrm>
          <a:prstGeom prst="rect">
            <a:avLst/>
          </a:prstGeom>
          <a:noFill/>
        </p:spPr>
        <p:txBody>
          <a:bodyPr wrap="square" lIns="15240" tIns="7620" rIns="15240" bIns="7620" rtlCol="0">
            <a:spAutoFit/>
          </a:bodyPr>
          <a:lstStyle>
            <a:defPPr>
              <a:defRPr lang="en-US"/>
            </a:defPPr>
            <a:lvl1pPr marL="0" algn="l" defTabSz="914400" rtl="0" eaLnBrk="1" latinLnBrk="0" hangingPunct="1">
              <a:defRPr lang="en-US" sz="1600" kern="1200" smtClean="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9E03BBD-2452-4D2D-AD10-405441971766}" type="slidenum">
              <a:rPr lang="en-US" sz="1100" smtClean="0">
                <a:solidFill>
                  <a:schemeClr val="bg1"/>
                </a:solidFill>
              </a:rPr>
              <a:pPr algn="ctr"/>
              <a:t>‹#›</a:t>
            </a:fld>
            <a:endParaRPr lang="en-US" sz="1100">
              <a:solidFill>
                <a:schemeClr val="bg1"/>
              </a:solidFill>
            </a:endParaRPr>
          </a:p>
        </p:txBody>
      </p:sp>
      <p:grpSp>
        <p:nvGrpSpPr>
          <p:cNvPr id="17" name="Group 16">
            <a:extLst>
              <a:ext uri="{FF2B5EF4-FFF2-40B4-BE49-F238E27FC236}">
                <a16:creationId xmlns:a16="http://schemas.microsoft.com/office/drawing/2014/main" id="{76435B0F-5B26-4933-990F-DF01546A820A}"/>
              </a:ext>
            </a:extLst>
          </p:cNvPr>
          <p:cNvGrpSpPr/>
          <p:nvPr userDrawn="1"/>
        </p:nvGrpSpPr>
        <p:grpSpPr>
          <a:xfrm>
            <a:off x="5471375" y="905627"/>
            <a:ext cx="1249250" cy="45719"/>
            <a:chOff x="5603988" y="876300"/>
            <a:chExt cx="1936525" cy="0"/>
          </a:xfrm>
        </p:grpSpPr>
        <p:cxnSp>
          <p:nvCxnSpPr>
            <p:cNvPr id="18" name="Straight Connector 17">
              <a:extLst>
                <a:ext uri="{FF2B5EF4-FFF2-40B4-BE49-F238E27FC236}">
                  <a16:creationId xmlns:a16="http://schemas.microsoft.com/office/drawing/2014/main" id="{44E9992A-82C2-4DBF-95AA-645129E80E66}"/>
                </a:ext>
              </a:extLst>
            </p:cNvPr>
            <p:cNvCxnSpPr/>
            <p:nvPr/>
          </p:nvCxnSpPr>
          <p:spPr>
            <a:xfrm>
              <a:off x="5603988" y="876300"/>
              <a:ext cx="98402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5E1ECB-1E67-491D-84DD-7B45D9FFB6ED}"/>
                </a:ext>
              </a:extLst>
            </p:cNvPr>
            <p:cNvCxnSpPr/>
            <p:nvPr/>
          </p:nvCxnSpPr>
          <p:spPr>
            <a:xfrm>
              <a:off x="6556488" y="876300"/>
              <a:ext cx="98402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090374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hf sldNum="0" hdr="0" ftr="0" dt="0"/>
  <p:txStyles>
    <p:titleStyle>
      <a:lvl1pPr algn="ctr"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1pPr>
      <a:lvl2pPr marL="457200" indent="-2286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2pPr>
      <a:lvl3pPr marL="800100" indent="-279400" algn="l" defTabSz="914400" rtl="0" eaLnBrk="1" latinLnBrk="0" hangingPunct="1">
        <a:lnSpc>
          <a:spcPct val="90000"/>
        </a:lnSpc>
        <a:spcBef>
          <a:spcPts val="500"/>
        </a:spcBef>
        <a:buClr>
          <a:schemeClr val="accent2"/>
        </a:buClr>
        <a:buFont typeface="Calibri Light" panose="020F0302020204030204" pitchFamily="34" charset="0"/>
        <a:buChar char="─"/>
        <a:tabLst>
          <a:tab pos="749300" algn="l"/>
        </a:tabLst>
        <a:defRPr sz="1600" kern="1200">
          <a:solidFill>
            <a:schemeClr val="tx2">
              <a:lumMod val="50000"/>
            </a:schemeClr>
          </a:solidFill>
          <a:latin typeface="+mn-lt"/>
          <a:ea typeface="+mn-ea"/>
          <a:cs typeface="+mn-cs"/>
        </a:defRPr>
      </a:lvl3pPr>
      <a:lvl4pPr marL="1028700" indent="-228600" algn="l" defTabSz="914400" rtl="0" eaLnBrk="1" latinLnBrk="0" hangingPunct="1">
        <a:lnSpc>
          <a:spcPct val="90000"/>
        </a:lnSpc>
        <a:spcBef>
          <a:spcPts val="500"/>
        </a:spcBef>
        <a:buClr>
          <a:schemeClr val="accent2"/>
        </a:buClr>
        <a:buFont typeface="Calibri Light" panose="020F0302020204030204" pitchFamily="34" charset="0"/>
        <a:buChar char="»"/>
        <a:defRPr sz="1600" kern="1200">
          <a:solidFill>
            <a:schemeClr val="tx2">
              <a:lumMod val="50000"/>
            </a:schemeClr>
          </a:solidFill>
          <a:latin typeface="+mn-lt"/>
          <a:ea typeface="+mn-ea"/>
          <a:cs typeface="+mn-cs"/>
        </a:defRPr>
      </a:lvl4pPr>
      <a:lvl5pPr marL="12573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1.xml"/><Relationship Id="rId1" Type="http://schemas.openxmlformats.org/officeDocument/2006/relationships/slideLayout" Target="../slideLayouts/slideLayout10.xml"/><Relationship Id="rId5" Type="http://schemas.openxmlformats.org/officeDocument/2006/relationships/image" Target="../media/image8.png"/><Relationship Id="rId4" Type="http://schemas.openxmlformats.org/officeDocument/2006/relationships/image" Target="../media/image7.wm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jpe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14.jpe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32773"/>
          <p:cNvSpPr/>
          <p:nvPr/>
        </p:nvSpPr>
        <p:spPr>
          <a:xfrm>
            <a:off x="0" y="3253462"/>
            <a:ext cx="12204150" cy="3610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2773" name="Object 32772"/>
          <p:cNvGraphicFramePr>
            <a:graphicFrameLocks noChangeAspect="1"/>
          </p:cNvGraphicFramePr>
          <p:nvPr/>
        </p:nvGraphicFramePr>
        <p:xfrm>
          <a:off x="0" y="-6066"/>
          <a:ext cx="12192000" cy="4105275"/>
        </p:xfrm>
        <a:graphic>
          <a:graphicData uri="http://schemas.openxmlformats.org/presentationml/2006/ole">
            <mc:AlternateContent xmlns:mc="http://schemas.openxmlformats.org/markup-compatibility/2006">
              <mc:Choice xmlns:v="urn:schemas-microsoft-com:vml" Requires="v">
                <p:oleObj r:id="rId3" imgW="16253640" imgH="5472720" progId="">
                  <p:embed/>
                </p:oleObj>
              </mc:Choice>
              <mc:Fallback>
                <p:oleObj r:id="rId3" imgW="16253640" imgH="5472720" progId="">
                  <p:embed/>
                  <p:pic>
                    <p:nvPicPr>
                      <p:cNvPr id="32773" name="Object 32772"/>
                      <p:cNvPicPr/>
                      <p:nvPr/>
                    </p:nvPicPr>
                    <p:blipFill>
                      <a:blip r:embed="rId4"/>
                      <a:stretch>
                        <a:fillRect/>
                      </a:stretch>
                    </p:blipFill>
                    <p:spPr>
                      <a:xfrm>
                        <a:off x="0" y="-6066"/>
                        <a:ext cx="12192000" cy="4105275"/>
                      </a:xfrm>
                      <a:prstGeom prst="rect">
                        <a:avLst/>
                      </a:prstGeom>
                    </p:spPr>
                  </p:pic>
                </p:oleObj>
              </mc:Fallback>
            </mc:AlternateContent>
          </a:graphicData>
        </a:graphic>
      </p:graphicFrame>
      <p:sp>
        <p:nvSpPr>
          <p:cNvPr id="4" name="Isosceles Triangle 3"/>
          <p:cNvSpPr/>
          <p:nvPr/>
        </p:nvSpPr>
        <p:spPr>
          <a:xfrm rot="5400000">
            <a:off x="8134687" y="3173762"/>
            <a:ext cx="2303613" cy="1885505"/>
          </a:xfrm>
          <a:custGeom>
            <a:avLst/>
            <a:gdLst>
              <a:gd name="connsiteX0" fmla="*/ 0 w 2052155"/>
              <a:gd name="connsiteY0" fmla="*/ 1904555 h 1904555"/>
              <a:gd name="connsiteX1" fmla="*/ 1063037 w 2052155"/>
              <a:gd name="connsiteY1" fmla="*/ 0 h 1904555"/>
              <a:gd name="connsiteX2" fmla="*/ 2052155 w 2052155"/>
              <a:gd name="connsiteY2" fmla="*/ 1904555 h 1904555"/>
              <a:gd name="connsiteX3" fmla="*/ 0 w 2052155"/>
              <a:gd name="connsiteY3" fmla="*/ 1904555 h 1904555"/>
              <a:gd name="connsiteX0" fmla="*/ 0 w 2052155"/>
              <a:gd name="connsiteY0" fmla="*/ 1885505 h 1885505"/>
              <a:gd name="connsiteX1" fmla="*/ 1060656 w 2052155"/>
              <a:gd name="connsiteY1" fmla="*/ 0 h 1885505"/>
              <a:gd name="connsiteX2" fmla="*/ 2052155 w 2052155"/>
              <a:gd name="connsiteY2" fmla="*/ 1885505 h 1885505"/>
              <a:gd name="connsiteX3" fmla="*/ 0 w 2052155"/>
              <a:gd name="connsiteY3" fmla="*/ 1885505 h 1885505"/>
            </a:gdLst>
            <a:ahLst/>
            <a:cxnLst>
              <a:cxn ang="0">
                <a:pos x="connsiteX0" y="connsiteY0"/>
              </a:cxn>
              <a:cxn ang="0">
                <a:pos x="connsiteX1" y="connsiteY1"/>
              </a:cxn>
              <a:cxn ang="0">
                <a:pos x="connsiteX2" y="connsiteY2"/>
              </a:cxn>
              <a:cxn ang="0">
                <a:pos x="connsiteX3" y="connsiteY3"/>
              </a:cxn>
            </a:cxnLst>
            <a:rect l="l" t="t" r="r" b="b"/>
            <a:pathLst>
              <a:path w="2052155" h="1885505">
                <a:moveTo>
                  <a:pt x="0" y="1885505"/>
                </a:moveTo>
                <a:lnTo>
                  <a:pt x="1060656" y="0"/>
                </a:lnTo>
                <a:lnTo>
                  <a:pt x="2052155" y="1885505"/>
                </a:lnTo>
                <a:lnTo>
                  <a:pt x="0" y="1885505"/>
                </a:lnTo>
                <a:close/>
              </a:path>
            </a:pathLst>
          </a:cu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10"/>
          <p:cNvSpPr/>
          <p:nvPr/>
        </p:nvSpPr>
        <p:spPr>
          <a:xfrm rot="16200000" flipH="1">
            <a:off x="6092472" y="3018058"/>
            <a:ext cx="2303616" cy="2196912"/>
          </a:xfrm>
          <a:custGeom>
            <a:avLst/>
            <a:gdLst>
              <a:gd name="connsiteX0" fmla="*/ 0 w 2052154"/>
              <a:gd name="connsiteY0" fmla="*/ 1904556 h 1904556"/>
              <a:gd name="connsiteX1" fmla="*/ 1063036 w 2052154"/>
              <a:gd name="connsiteY1" fmla="*/ 0 h 1904556"/>
              <a:gd name="connsiteX2" fmla="*/ 2052154 w 2052154"/>
              <a:gd name="connsiteY2" fmla="*/ 1904556 h 1904556"/>
              <a:gd name="connsiteX3" fmla="*/ 0 w 2052154"/>
              <a:gd name="connsiteY3" fmla="*/ 1904556 h 1904556"/>
              <a:gd name="connsiteX0" fmla="*/ 0 w 2052154"/>
              <a:gd name="connsiteY0" fmla="*/ 2015681 h 2015681"/>
              <a:gd name="connsiteX1" fmla="*/ 1082086 w 2052154"/>
              <a:gd name="connsiteY1" fmla="*/ 0 h 2015681"/>
              <a:gd name="connsiteX2" fmla="*/ 2052154 w 2052154"/>
              <a:gd name="connsiteY2" fmla="*/ 2015681 h 2015681"/>
              <a:gd name="connsiteX3" fmla="*/ 0 w 2052154"/>
              <a:gd name="connsiteY3" fmla="*/ 2015681 h 2015681"/>
              <a:gd name="connsiteX0" fmla="*/ 0 w 2052154"/>
              <a:gd name="connsiteY0" fmla="*/ 2163960 h 2163960"/>
              <a:gd name="connsiteX1" fmla="*/ 1067411 w 2052154"/>
              <a:gd name="connsiteY1" fmla="*/ 0 h 2163960"/>
              <a:gd name="connsiteX2" fmla="*/ 2052154 w 2052154"/>
              <a:gd name="connsiteY2" fmla="*/ 2163960 h 2163960"/>
              <a:gd name="connsiteX3" fmla="*/ 0 w 2052154"/>
              <a:gd name="connsiteY3" fmla="*/ 2163960 h 2163960"/>
              <a:gd name="connsiteX0" fmla="*/ 0 w 2052154"/>
              <a:gd name="connsiteY0" fmla="*/ 2196912 h 2196912"/>
              <a:gd name="connsiteX1" fmla="*/ 1074750 w 2052154"/>
              <a:gd name="connsiteY1" fmla="*/ 0 h 2196912"/>
              <a:gd name="connsiteX2" fmla="*/ 2052154 w 2052154"/>
              <a:gd name="connsiteY2" fmla="*/ 2196912 h 2196912"/>
              <a:gd name="connsiteX3" fmla="*/ 0 w 2052154"/>
              <a:gd name="connsiteY3" fmla="*/ 2196912 h 2196912"/>
            </a:gdLst>
            <a:ahLst/>
            <a:cxnLst>
              <a:cxn ang="0">
                <a:pos x="connsiteX0" y="connsiteY0"/>
              </a:cxn>
              <a:cxn ang="0">
                <a:pos x="connsiteX1" y="connsiteY1"/>
              </a:cxn>
              <a:cxn ang="0">
                <a:pos x="connsiteX2" y="connsiteY2"/>
              </a:cxn>
              <a:cxn ang="0">
                <a:pos x="connsiteX3" y="connsiteY3"/>
              </a:cxn>
            </a:cxnLst>
            <a:rect l="l" t="t" r="r" b="b"/>
            <a:pathLst>
              <a:path w="2052154" h="2196912">
                <a:moveTo>
                  <a:pt x="0" y="2196912"/>
                </a:moveTo>
                <a:lnTo>
                  <a:pt x="1074750" y="0"/>
                </a:lnTo>
                <a:lnTo>
                  <a:pt x="2052154" y="2196912"/>
                </a:lnTo>
                <a:lnTo>
                  <a:pt x="0" y="2196912"/>
                </a:lnTo>
                <a:close/>
              </a:path>
            </a:pathLst>
          </a:cu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1"/>
          <p:cNvSpPr/>
          <p:nvPr/>
        </p:nvSpPr>
        <p:spPr>
          <a:xfrm rot="5400000">
            <a:off x="9957002" y="2026450"/>
            <a:ext cx="2405380" cy="1864042"/>
          </a:xfrm>
          <a:prstGeom prst="triangle">
            <a:avLst>
              <a:gd name="adj" fmla="val 51801"/>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p:cNvSpPr/>
          <p:nvPr/>
        </p:nvSpPr>
        <p:spPr>
          <a:xfrm rot="16200000" flipH="1">
            <a:off x="8093704" y="2026452"/>
            <a:ext cx="2405380" cy="1864042"/>
          </a:xfrm>
          <a:prstGeom prst="triangle">
            <a:avLst>
              <a:gd name="adj" fmla="val 51801"/>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p:cNvSpPr/>
          <p:nvPr/>
        </p:nvSpPr>
        <p:spPr>
          <a:xfrm rot="16200000" flipH="1">
            <a:off x="10014427" y="3119490"/>
            <a:ext cx="2400036" cy="1979762"/>
          </a:xfrm>
          <a:custGeom>
            <a:avLst/>
            <a:gdLst>
              <a:gd name="connsiteX0" fmla="*/ 0 w 2142811"/>
              <a:gd name="connsiteY0" fmla="*/ 1864042 h 1864042"/>
              <a:gd name="connsiteX1" fmla="*/ 1109998 w 2142811"/>
              <a:gd name="connsiteY1" fmla="*/ 0 h 1864042"/>
              <a:gd name="connsiteX2" fmla="*/ 2142811 w 2142811"/>
              <a:gd name="connsiteY2" fmla="*/ 1864042 h 1864042"/>
              <a:gd name="connsiteX3" fmla="*/ 0 w 2142811"/>
              <a:gd name="connsiteY3" fmla="*/ 1864042 h 1864042"/>
              <a:gd name="connsiteX0" fmla="*/ 0 w 2145193"/>
              <a:gd name="connsiteY0" fmla="*/ 1952151 h 1952151"/>
              <a:gd name="connsiteX1" fmla="*/ 1112380 w 2145193"/>
              <a:gd name="connsiteY1" fmla="*/ 0 h 1952151"/>
              <a:gd name="connsiteX2" fmla="*/ 2145193 w 2145193"/>
              <a:gd name="connsiteY2" fmla="*/ 1864042 h 1952151"/>
              <a:gd name="connsiteX3" fmla="*/ 0 w 2145193"/>
              <a:gd name="connsiteY3" fmla="*/ 1952151 h 1952151"/>
              <a:gd name="connsiteX0" fmla="*/ 0 w 2140431"/>
              <a:gd name="connsiteY0" fmla="*/ 1952151 h 1952151"/>
              <a:gd name="connsiteX1" fmla="*/ 1112380 w 2140431"/>
              <a:gd name="connsiteY1" fmla="*/ 0 h 1952151"/>
              <a:gd name="connsiteX2" fmla="*/ 2140431 w 2140431"/>
              <a:gd name="connsiteY2" fmla="*/ 1952148 h 1952151"/>
              <a:gd name="connsiteX3" fmla="*/ 0 w 2140431"/>
              <a:gd name="connsiteY3" fmla="*/ 1952151 h 1952151"/>
              <a:gd name="connsiteX0" fmla="*/ 0 w 2138049"/>
              <a:gd name="connsiteY0" fmla="*/ 1956859 h 1956859"/>
              <a:gd name="connsiteX1" fmla="*/ 1109998 w 2138049"/>
              <a:gd name="connsiteY1" fmla="*/ 0 h 1956859"/>
              <a:gd name="connsiteX2" fmla="*/ 2138049 w 2138049"/>
              <a:gd name="connsiteY2" fmla="*/ 1952148 h 1956859"/>
              <a:gd name="connsiteX3" fmla="*/ 0 w 2138049"/>
              <a:gd name="connsiteY3" fmla="*/ 1956859 h 1956859"/>
            </a:gdLst>
            <a:ahLst/>
            <a:cxnLst>
              <a:cxn ang="0">
                <a:pos x="connsiteX0" y="connsiteY0"/>
              </a:cxn>
              <a:cxn ang="0">
                <a:pos x="connsiteX1" y="connsiteY1"/>
              </a:cxn>
              <a:cxn ang="0">
                <a:pos x="connsiteX2" y="connsiteY2"/>
              </a:cxn>
              <a:cxn ang="0">
                <a:pos x="connsiteX3" y="connsiteY3"/>
              </a:cxn>
            </a:cxnLst>
            <a:rect l="l" t="t" r="r" b="b"/>
            <a:pathLst>
              <a:path w="2138049" h="1956859">
                <a:moveTo>
                  <a:pt x="0" y="1956859"/>
                </a:moveTo>
                <a:lnTo>
                  <a:pt x="1109998" y="0"/>
                </a:lnTo>
                <a:lnTo>
                  <a:pt x="2138049" y="1952148"/>
                </a:lnTo>
                <a:lnTo>
                  <a:pt x="0" y="1956859"/>
                </a:lnTo>
                <a:close/>
              </a:path>
            </a:pathLst>
          </a:cu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1" y="1202107"/>
            <a:ext cx="4860324" cy="4457287"/>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618 w 4860324"/>
              <a:gd name="connsiteY0" fmla="*/ 0 h 4457287"/>
              <a:gd name="connsiteX1" fmla="*/ 4860324 w 4860324"/>
              <a:gd name="connsiteY1" fmla="*/ 2883861 h 4457287"/>
              <a:gd name="connsiteX2" fmla="*/ 1861752 w 4860324"/>
              <a:gd name="connsiteY2" fmla="*/ 4457287 h 4457287"/>
              <a:gd name="connsiteX3" fmla="*/ 0 w 4860324"/>
              <a:gd name="connsiteY3" fmla="*/ 3493461 h 4457287"/>
              <a:gd name="connsiteX4" fmla="*/ 618 w 4860324"/>
              <a:gd name="connsiteY4" fmla="*/ 0 h 44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0324" h="4457287">
                <a:moveTo>
                  <a:pt x="618" y="0"/>
                </a:moveTo>
                <a:lnTo>
                  <a:pt x="4860324" y="2883861"/>
                </a:lnTo>
                <a:lnTo>
                  <a:pt x="1861752" y="4457287"/>
                </a:lnTo>
                <a:lnTo>
                  <a:pt x="0" y="3493461"/>
                </a:lnTo>
                <a:lnTo>
                  <a:pt x="618" y="0"/>
                </a:lnTo>
                <a:close/>
              </a:path>
            </a:pathLst>
          </a:custGeom>
          <a:solidFill>
            <a:srgbClr val="003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1"/>
          <p:cNvSpPr/>
          <p:nvPr/>
        </p:nvSpPr>
        <p:spPr>
          <a:xfrm>
            <a:off x="-3212" y="5361112"/>
            <a:ext cx="1876367" cy="1498552"/>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2875005"/>
              <a:gd name="connsiteX1" fmla="*/ 4860324 w 4860324"/>
              <a:gd name="connsiteY1" fmla="*/ 1301579 h 2875005"/>
              <a:gd name="connsiteX2" fmla="*/ 1861752 w 4860324"/>
              <a:gd name="connsiteY2" fmla="*/ 2875005 h 2875005"/>
              <a:gd name="connsiteX3" fmla="*/ 0 w 4860324"/>
              <a:gd name="connsiteY3" fmla="*/ 1911179 h 2875005"/>
              <a:gd name="connsiteX4" fmla="*/ 8238 w 4860324"/>
              <a:gd name="connsiteY4" fmla="*/ 0 h 2875005"/>
              <a:gd name="connsiteX0" fmla="*/ 8238 w 3426940"/>
              <a:gd name="connsiteY0" fmla="*/ 0 h 2875005"/>
              <a:gd name="connsiteX1" fmla="*/ 3426940 w 3426940"/>
              <a:gd name="connsiteY1" fmla="*/ 1837038 h 2875005"/>
              <a:gd name="connsiteX2" fmla="*/ 1861752 w 3426940"/>
              <a:gd name="connsiteY2" fmla="*/ 2875005 h 2875005"/>
              <a:gd name="connsiteX3" fmla="*/ 0 w 3426940"/>
              <a:gd name="connsiteY3" fmla="*/ 1911179 h 2875005"/>
              <a:gd name="connsiteX4" fmla="*/ 8238 w 3426940"/>
              <a:gd name="connsiteY4" fmla="*/ 0 h 2875005"/>
              <a:gd name="connsiteX0" fmla="*/ -1 w 3418701"/>
              <a:gd name="connsiteY0" fmla="*/ 0 h 2875005"/>
              <a:gd name="connsiteX1" fmla="*/ 3418701 w 3418701"/>
              <a:gd name="connsiteY1" fmla="*/ 1837038 h 2875005"/>
              <a:gd name="connsiteX2" fmla="*/ 1853513 w 3418701"/>
              <a:gd name="connsiteY2" fmla="*/ 2875005 h 2875005"/>
              <a:gd name="connsiteX3" fmla="*/ 6658 w 3418701"/>
              <a:gd name="connsiteY3" fmla="*/ 2507034 h 2875005"/>
              <a:gd name="connsiteX4" fmla="*/ -1 w 3418701"/>
              <a:gd name="connsiteY4" fmla="*/ 0 h 2875005"/>
              <a:gd name="connsiteX0" fmla="*/ 1 w 3418703"/>
              <a:gd name="connsiteY0" fmla="*/ 0 h 2577077"/>
              <a:gd name="connsiteX1" fmla="*/ 3418703 w 3418703"/>
              <a:gd name="connsiteY1" fmla="*/ 1837038 h 2577077"/>
              <a:gd name="connsiteX2" fmla="*/ 1898205 w 3418703"/>
              <a:gd name="connsiteY2" fmla="*/ 2577077 h 2577077"/>
              <a:gd name="connsiteX3" fmla="*/ 6660 w 3418703"/>
              <a:gd name="connsiteY3" fmla="*/ 2507034 h 2577077"/>
              <a:gd name="connsiteX4" fmla="*/ 1 w 3418703"/>
              <a:gd name="connsiteY4" fmla="*/ 0 h 2577077"/>
              <a:gd name="connsiteX0" fmla="*/ -1 w 3418701"/>
              <a:gd name="connsiteY0" fmla="*/ 0 h 2568464"/>
              <a:gd name="connsiteX1" fmla="*/ 3418701 w 3418701"/>
              <a:gd name="connsiteY1" fmla="*/ 1837038 h 2568464"/>
              <a:gd name="connsiteX2" fmla="*/ 2023076 w 3418701"/>
              <a:gd name="connsiteY2" fmla="*/ 2568464 h 2568464"/>
              <a:gd name="connsiteX3" fmla="*/ 6658 w 3418701"/>
              <a:gd name="connsiteY3" fmla="*/ 2507034 h 2568464"/>
              <a:gd name="connsiteX4" fmla="*/ -1 w 3418701"/>
              <a:gd name="connsiteY4" fmla="*/ 0 h 2568464"/>
              <a:gd name="connsiteX0" fmla="*/ 1 w 3418703"/>
              <a:gd name="connsiteY0" fmla="*/ 0 h 2588849"/>
              <a:gd name="connsiteX1" fmla="*/ 3418703 w 3418703"/>
              <a:gd name="connsiteY1" fmla="*/ 1837038 h 2588849"/>
              <a:gd name="connsiteX2" fmla="*/ 2023078 w 3418703"/>
              <a:gd name="connsiteY2" fmla="*/ 2568464 h 2588849"/>
              <a:gd name="connsiteX3" fmla="*/ 6660 w 3418703"/>
              <a:gd name="connsiteY3" fmla="*/ 2588849 h 2588849"/>
              <a:gd name="connsiteX4" fmla="*/ 1 w 3418703"/>
              <a:gd name="connsiteY4" fmla="*/ 0 h 2588849"/>
              <a:gd name="connsiteX0" fmla="*/ -1 w 3418701"/>
              <a:gd name="connsiteY0" fmla="*/ 0 h 2588849"/>
              <a:gd name="connsiteX1" fmla="*/ 3418701 w 3418701"/>
              <a:gd name="connsiteY1" fmla="*/ 1837038 h 2588849"/>
              <a:gd name="connsiteX2" fmla="*/ 2023076 w 3418701"/>
              <a:gd name="connsiteY2" fmla="*/ 2585688 h 2588849"/>
              <a:gd name="connsiteX3" fmla="*/ 6658 w 3418701"/>
              <a:gd name="connsiteY3" fmla="*/ 2588849 h 2588849"/>
              <a:gd name="connsiteX4" fmla="*/ -1 w 3418701"/>
              <a:gd name="connsiteY4" fmla="*/ 0 h 2588849"/>
              <a:gd name="connsiteX0" fmla="*/ 7404 w 3426106"/>
              <a:gd name="connsiteY0" fmla="*/ 0 h 2585688"/>
              <a:gd name="connsiteX1" fmla="*/ 3426106 w 3426106"/>
              <a:gd name="connsiteY1" fmla="*/ 1837038 h 2585688"/>
              <a:gd name="connsiteX2" fmla="*/ 2030481 w 3426106"/>
              <a:gd name="connsiteY2" fmla="*/ 2585688 h 2585688"/>
              <a:gd name="connsiteX3" fmla="*/ 284 w 3426106"/>
              <a:gd name="connsiteY3" fmla="*/ 2575070 h 2585688"/>
              <a:gd name="connsiteX4" fmla="*/ 7404 w 3426106"/>
              <a:gd name="connsiteY4" fmla="*/ 0 h 2585688"/>
              <a:gd name="connsiteX0" fmla="*/ 1844 w 3426340"/>
              <a:gd name="connsiteY0" fmla="*/ 0 h 2596699"/>
              <a:gd name="connsiteX1" fmla="*/ 3426340 w 3426340"/>
              <a:gd name="connsiteY1" fmla="*/ 1848049 h 2596699"/>
              <a:gd name="connsiteX2" fmla="*/ 2030715 w 3426340"/>
              <a:gd name="connsiteY2" fmla="*/ 2596699 h 2596699"/>
              <a:gd name="connsiteX3" fmla="*/ 518 w 3426340"/>
              <a:gd name="connsiteY3" fmla="*/ 2586081 h 2596699"/>
              <a:gd name="connsiteX4" fmla="*/ 1844 w 3426340"/>
              <a:gd name="connsiteY4" fmla="*/ 0 h 2596699"/>
              <a:gd name="connsiteX0" fmla="*/ 1 w 3424497"/>
              <a:gd name="connsiteY0" fmla="*/ 0 h 2598468"/>
              <a:gd name="connsiteX1" fmla="*/ 3424497 w 3424497"/>
              <a:gd name="connsiteY1" fmla="*/ 1848049 h 2598468"/>
              <a:gd name="connsiteX2" fmla="*/ 2028872 w 3424497"/>
              <a:gd name="connsiteY2" fmla="*/ 2596699 h 2598468"/>
              <a:gd name="connsiteX3" fmla="*/ 3021 w 3424497"/>
              <a:gd name="connsiteY3" fmla="*/ 2598468 h 2598468"/>
              <a:gd name="connsiteX4" fmla="*/ 1 w 3424497"/>
              <a:gd name="connsiteY4" fmla="*/ 0 h 259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4497" h="2598468">
                <a:moveTo>
                  <a:pt x="1" y="0"/>
                </a:moveTo>
                <a:lnTo>
                  <a:pt x="3424497" y="1848049"/>
                </a:lnTo>
                <a:lnTo>
                  <a:pt x="2028872" y="2596699"/>
                </a:lnTo>
                <a:lnTo>
                  <a:pt x="3021" y="2598468"/>
                </a:lnTo>
                <a:cubicBezTo>
                  <a:pt x="801" y="1762790"/>
                  <a:pt x="2221" y="835678"/>
                  <a:pt x="1" y="0"/>
                </a:cubicBezTo>
                <a:close/>
              </a:path>
            </a:pathLst>
          </a:custGeom>
          <a:solidFill>
            <a:srgbClr val="003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
          <p:cNvSpPr/>
          <p:nvPr/>
        </p:nvSpPr>
        <p:spPr>
          <a:xfrm>
            <a:off x="-4094" y="4675995"/>
            <a:ext cx="1877249" cy="1751377"/>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2875005"/>
              <a:gd name="connsiteX1" fmla="*/ 4860324 w 4860324"/>
              <a:gd name="connsiteY1" fmla="*/ 1301579 h 2875005"/>
              <a:gd name="connsiteX2" fmla="*/ 1861752 w 4860324"/>
              <a:gd name="connsiteY2" fmla="*/ 2875005 h 2875005"/>
              <a:gd name="connsiteX3" fmla="*/ 0 w 4860324"/>
              <a:gd name="connsiteY3" fmla="*/ 1911179 h 2875005"/>
              <a:gd name="connsiteX4" fmla="*/ 8238 w 4860324"/>
              <a:gd name="connsiteY4" fmla="*/ 0 h 2875005"/>
              <a:gd name="connsiteX0" fmla="*/ 8238 w 3426940"/>
              <a:gd name="connsiteY0" fmla="*/ 0 h 2875005"/>
              <a:gd name="connsiteX1" fmla="*/ 3426940 w 3426940"/>
              <a:gd name="connsiteY1" fmla="*/ 1837038 h 2875005"/>
              <a:gd name="connsiteX2" fmla="*/ 1861752 w 3426940"/>
              <a:gd name="connsiteY2" fmla="*/ 2875005 h 2875005"/>
              <a:gd name="connsiteX3" fmla="*/ 0 w 3426940"/>
              <a:gd name="connsiteY3" fmla="*/ 1911179 h 2875005"/>
              <a:gd name="connsiteX4" fmla="*/ 8238 w 3426940"/>
              <a:gd name="connsiteY4" fmla="*/ 0 h 2875005"/>
              <a:gd name="connsiteX0" fmla="*/ -1 w 3418701"/>
              <a:gd name="connsiteY0" fmla="*/ 0 h 2875005"/>
              <a:gd name="connsiteX1" fmla="*/ 3418701 w 3418701"/>
              <a:gd name="connsiteY1" fmla="*/ 1837038 h 2875005"/>
              <a:gd name="connsiteX2" fmla="*/ 1853513 w 3418701"/>
              <a:gd name="connsiteY2" fmla="*/ 2875005 h 2875005"/>
              <a:gd name="connsiteX3" fmla="*/ 6658 w 3418701"/>
              <a:gd name="connsiteY3" fmla="*/ 2507034 h 2875005"/>
              <a:gd name="connsiteX4" fmla="*/ -1 w 3418701"/>
              <a:gd name="connsiteY4" fmla="*/ 0 h 2875005"/>
              <a:gd name="connsiteX0" fmla="*/ 1 w 3418703"/>
              <a:gd name="connsiteY0" fmla="*/ 0 h 2577077"/>
              <a:gd name="connsiteX1" fmla="*/ 3418703 w 3418703"/>
              <a:gd name="connsiteY1" fmla="*/ 1837038 h 2577077"/>
              <a:gd name="connsiteX2" fmla="*/ 1898205 w 3418703"/>
              <a:gd name="connsiteY2" fmla="*/ 2577077 h 2577077"/>
              <a:gd name="connsiteX3" fmla="*/ 6660 w 3418703"/>
              <a:gd name="connsiteY3" fmla="*/ 2507034 h 2577077"/>
              <a:gd name="connsiteX4" fmla="*/ 1 w 3418703"/>
              <a:gd name="connsiteY4" fmla="*/ 0 h 2577077"/>
              <a:gd name="connsiteX0" fmla="*/ -1 w 3418701"/>
              <a:gd name="connsiteY0" fmla="*/ 0 h 2568464"/>
              <a:gd name="connsiteX1" fmla="*/ 3418701 w 3418701"/>
              <a:gd name="connsiteY1" fmla="*/ 1837038 h 2568464"/>
              <a:gd name="connsiteX2" fmla="*/ 2023076 w 3418701"/>
              <a:gd name="connsiteY2" fmla="*/ 2568464 h 2568464"/>
              <a:gd name="connsiteX3" fmla="*/ 6658 w 3418701"/>
              <a:gd name="connsiteY3" fmla="*/ 2507034 h 2568464"/>
              <a:gd name="connsiteX4" fmla="*/ -1 w 3418701"/>
              <a:gd name="connsiteY4" fmla="*/ 0 h 2568464"/>
              <a:gd name="connsiteX0" fmla="*/ 1 w 3418703"/>
              <a:gd name="connsiteY0" fmla="*/ 0 h 2588849"/>
              <a:gd name="connsiteX1" fmla="*/ 3418703 w 3418703"/>
              <a:gd name="connsiteY1" fmla="*/ 1837038 h 2588849"/>
              <a:gd name="connsiteX2" fmla="*/ 2023078 w 3418703"/>
              <a:gd name="connsiteY2" fmla="*/ 2568464 h 2588849"/>
              <a:gd name="connsiteX3" fmla="*/ 6660 w 3418703"/>
              <a:gd name="connsiteY3" fmla="*/ 2588849 h 2588849"/>
              <a:gd name="connsiteX4" fmla="*/ 1 w 3418703"/>
              <a:gd name="connsiteY4" fmla="*/ 0 h 2588849"/>
              <a:gd name="connsiteX0" fmla="*/ -1 w 3418701"/>
              <a:gd name="connsiteY0" fmla="*/ 0 h 2588849"/>
              <a:gd name="connsiteX1" fmla="*/ 3418701 w 3418701"/>
              <a:gd name="connsiteY1" fmla="*/ 1837038 h 2588849"/>
              <a:gd name="connsiteX2" fmla="*/ 2023076 w 3418701"/>
              <a:gd name="connsiteY2" fmla="*/ 2585688 h 2588849"/>
              <a:gd name="connsiteX3" fmla="*/ 6658 w 3418701"/>
              <a:gd name="connsiteY3" fmla="*/ 2588849 h 2588849"/>
              <a:gd name="connsiteX4" fmla="*/ -1 w 3418701"/>
              <a:gd name="connsiteY4" fmla="*/ 0 h 2588849"/>
              <a:gd name="connsiteX0" fmla="*/ 1 w 3367031"/>
              <a:gd name="connsiteY0" fmla="*/ 0 h 2588849"/>
              <a:gd name="connsiteX1" fmla="*/ 3367031 w 3367031"/>
              <a:gd name="connsiteY1" fmla="*/ 1738000 h 2588849"/>
              <a:gd name="connsiteX2" fmla="*/ 2023078 w 3367031"/>
              <a:gd name="connsiteY2" fmla="*/ 2585688 h 2588849"/>
              <a:gd name="connsiteX3" fmla="*/ 6660 w 3367031"/>
              <a:gd name="connsiteY3" fmla="*/ 2588849 h 2588849"/>
              <a:gd name="connsiteX4" fmla="*/ 1 w 3367031"/>
              <a:gd name="connsiteY4" fmla="*/ 0 h 2588849"/>
              <a:gd name="connsiteX0" fmla="*/ -1 w 3367029"/>
              <a:gd name="connsiteY0" fmla="*/ 0 h 2588849"/>
              <a:gd name="connsiteX1" fmla="*/ 3367029 w 3367029"/>
              <a:gd name="connsiteY1" fmla="*/ 1738000 h 2588849"/>
              <a:gd name="connsiteX2" fmla="*/ 1980015 w 3367029"/>
              <a:gd name="connsiteY2" fmla="*/ 2116336 h 2588849"/>
              <a:gd name="connsiteX3" fmla="*/ 6658 w 3367029"/>
              <a:gd name="connsiteY3" fmla="*/ 2588849 h 2588849"/>
              <a:gd name="connsiteX4" fmla="*/ -1 w 3367029"/>
              <a:gd name="connsiteY4" fmla="*/ 0 h 2588849"/>
              <a:gd name="connsiteX0" fmla="*/ 2428 w 3369458"/>
              <a:gd name="connsiteY0" fmla="*/ 0 h 2116336"/>
              <a:gd name="connsiteX1" fmla="*/ 3369458 w 3369458"/>
              <a:gd name="connsiteY1" fmla="*/ 1738000 h 2116336"/>
              <a:gd name="connsiteX2" fmla="*/ 1982444 w 3369458"/>
              <a:gd name="connsiteY2" fmla="*/ 2116336 h 2116336"/>
              <a:gd name="connsiteX3" fmla="*/ 476 w 3369458"/>
              <a:gd name="connsiteY3" fmla="*/ 1258298 h 2116336"/>
              <a:gd name="connsiteX4" fmla="*/ 2428 w 3369458"/>
              <a:gd name="connsiteY4" fmla="*/ 0 h 2116336"/>
              <a:gd name="connsiteX0" fmla="*/ 6564 w 3373594"/>
              <a:gd name="connsiteY0" fmla="*/ 0 h 2116336"/>
              <a:gd name="connsiteX1" fmla="*/ 3373594 w 3373594"/>
              <a:gd name="connsiteY1" fmla="*/ 1738000 h 2116336"/>
              <a:gd name="connsiteX2" fmla="*/ 1986580 w 3373594"/>
              <a:gd name="connsiteY2" fmla="*/ 2116336 h 2116336"/>
              <a:gd name="connsiteX3" fmla="*/ 306 w 3373594"/>
              <a:gd name="connsiteY3" fmla="*/ 1335807 h 2116336"/>
              <a:gd name="connsiteX4" fmla="*/ 6564 w 3373594"/>
              <a:gd name="connsiteY4" fmla="*/ 0 h 2116336"/>
              <a:gd name="connsiteX0" fmla="*/ 6564 w 3403250"/>
              <a:gd name="connsiteY0" fmla="*/ 0 h 3166998"/>
              <a:gd name="connsiteX1" fmla="*/ 3373594 w 3403250"/>
              <a:gd name="connsiteY1" fmla="*/ 1738000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403250"/>
              <a:gd name="connsiteY0" fmla="*/ 0 h 3166998"/>
              <a:gd name="connsiteX1" fmla="*/ 3399429 w 3403250"/>
              <a:gd name="connsiteY1" fmla="*/ 1755224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403250"/>
              <a:gd name="connsiteY0" fmla="*/ 0 h 3166998"/>
              <a:gd name="connsiteX1" fmla="*/ 3386511 w 3403250"/>
              <a:gd name="connsiteY1" fmla="*/ 1750919 h 3166998"/>
              <a:gd name="connsiteX2" fmla="*/ 3403250 w 3403250"/>
              <a:gd name="connsiteY2" fmla="*/ 3166998 h 3166998"/>
              <a:gd name="connsiteX3" fmla="*/ 306 w 3403250"/>
              <a:gd name="connsiteY3" fmla="*/ 1335807 h 3166998"/>
              <a:gd name="connsiteX4" fmla="*/ 6564 w 3403250"/>
              <a:gd name="connsiteY4" fmla="*/ 0 h 3166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250" h="3166998">
                <a:moveTo>
                  <a:pt x="6564" y="0"/>
                </a:moveTo>
                <a:lnTo>
                  <a:pt x="3386511" y="1750919"/>
                </a:lnTo>
                <a:cubicBezTo>
                  <a:pt x="3387785" y="2221510"/>
                  <a:pt x="3401976" y="2696407"/>
                  <a:pt x="3403250" y="3166998"/>
                </a:cubicBezTo>
                <a:lnTo>
                  <a:pt x="306" y="1335807"/>
                </a:lnTo>
                <a:cubicBezTo>
                  <a:pt x="-1914" y="500129"/>
                  <a:pt x="8784" y="835678"/>
                  <a:pt x="6564" y="0"/>
                </a:cubicBezTo>
                <a:close/>
              </a:path>
            </a:pathLst>
          </a:custGeom>
          <a:solidFill>
            <a:srgbClr val="FF6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1"/>
          <p:cNvSpPr/>
          <p:nvPr/>
        </p:nvSpPr>
        <p:spPr>
          <a:xfrm flipV="1">
            <a:off x="1860647" y="1259424"/>
            <a:ext cx="8365631" cy="5171805"/>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2875005"/>
              <a:gd name="connsiteX1" fmla="*/ 4860324 w 4860324"/>
              <a:gd name="connsiteY1" fmla="*/ 1301579 h 2875005"/>
              <a:gd name="connsiteX2" fmla="*/ 1861752 w 4860324"/>
              <a:gd name="connsiteY2" fmla="*/ 2875005 h 2875005"/>
              <a:gd name="connsiteX3" fmla="*/ 0 w 4860324"/>
              <a:gd name="connsiteY3" fmla="*/ 1911179 h 2875005"/>
              <a:gd name="connsiteX4" fmla="*/ 8238 w 4860324"/>
              <a:gd name="connsiteY4" fmla="*/ 0 h 2875005"/>
              <a:gd name="connsiteX0" fmla="*/ 8238 w 3426940"/>
              <a:gd name="connsiteY0" fmla="*/ 0 h 2875005"/>
              <a:gd name="connsiteX1" fmla="*/ 3426940 w 3426940"/>
              <a:gd name="connsiteY1" fmla="*/ 1837038 h 2875005"/>
              <a:gd name="connsiteX2" fmla="*/ 1861752 w 3426940"/>
              <a:gd name="connsiteY2" fmla="*/ 2875005 h 2875005"/>
              <a:gd name="connsiteX3" fmla="*/ 0 w 3426940"/>
              <a:gd name="connsiteY3" fmla="*/ 1911179 h 2875005"/>
              <a:gd name="connsiteX4" fmla="*/ 8238 w 3426940"/>
              <a:gd name="connsiteY4" fmla="*/ 0 h 2875005"/>
              <a:gd name="connsiteX0" fmla="*/ -1 w 3418701"/>
              <a:gd name="connsiteY0" fmla="*/ 0 h 2875005"/>
              <a:gd name="connsiteX1" fmla="*/ 3418701 w 3418701"/>
              <a:gd name="connsiteY1" fmla="*/ 1837038 h 2875005"/>
              <a:gd name="connsiteX2" fmla="*/ 1853513 w 3418701"/>
              <a:gd name="connsiteY2" fmla="*/ 2875005 h 2875005"/>
              <a:gd name="connsiteX3" fmla="*/ 6658 w 3418701"/>
              <a:gd name="connsiteY3" fmla="*/ 2507034 h 2875005"/>
              <a:gd name="connsiteX4" fmla="*/ -1 w 3418701"/>
              <a:gd name="connsiteY4" fmla="*/ 0 h 2875005"/>
              <a:gd name="connsiteX0" fmla="*/ 1 w 3418703"/>
              <a:gd name="connsiteY0" fmla="*/ 0 h 2577077"/>
              <a:gd name="connsiteX1" fmla="*/ 3418703 w 3418703"/>
              <a:gd name="connsiteY1" fmla="*/ 1837038 h 2577077"/>
              <a:gd name="connsiteX2" fmla="*/ 1898205 w 3418703"/>
              <a:gd name="connsiteY2" fmla="*/ 2577077 h 2577077"/>
              <a:gd name="connsiteX3" fmla="*/ 6660 w 3418703"/>
              <a:gd name="connsiteY3" fmla="*/ 2507034 h 2577077"/>
              <a:gd name="connsiteX4" fmla="*/ 1 w 3418703"/>
              <a:gd name="connsiteY4" fmla="*/ 0 h 2577077"/>
              <a:gd name="connsiteX0" fmla="*/ -1 w 3418701"/>
              <a:gd name="connsiteY0" fmla="*/ 0 h 2568464"/>
              <a:gd name="connsiteX1" fmla="*/ 3418701 w 3418701"/>
              <a:gd name="connsiteY1" fmla="*/ 1837038 h 2568464"/>
              <a:gd name="connsiteX2" fmla="*/ 2023076 w 3418701"/>
              <a:gd name="connsiteY2" fmla="*/ 2568464 h 2568464"/>
              <a:gd name="connsiteX3" fmla="*/ 6658 w 3418701"/>
              <a:gd name="connsiteY3" fmla="*/ 2507034 h 2568464"/>
              <a:gd name="connsiteX4" fmla="*/ -1 w 3418701"/>
              <a:gd name="connsiteY4" fmla="*/ 0 h 2568464"/>
              <a:gd name="connsiteX0" fmla="*/ 1 w 3418703"/>
              <a:gd name="connsiteY0" fmla="*/ 0 h 2588849"/>
              <a:gd name="connsiteX1" fmla="*/ 3418703 w 3418703"/>
              <a:gd name="connsiteY1" fmla="*/ 1837038 h 2588849"/>
              <a:gd name="connsiteX2" fmla="*/ 2023078 w 3418703"/>
              <a:gd name="connsiteY2" fmla="*/ 2568464 h 2588849"/>
              <a:gd name="connsiteX3" fmla="*/ 6660 w 3418703"/>
              <a:gd name="connsiteY3" fmla="*/ 2588849 h 2588849"/>
              <a:gd name="connsiteX4" fmla="*/ 1 w 3418703"/>
              <a:gd name="connsiteY4" fmla="*/ 0 h 2588849"/>
              <a:gd name="connsiteX0" fmla="*/ -1 w 3418701"/>
              <a:gd name="connsiteY0" fmla="*/ 0 h 2588849"/>
              <a:gd name="connsiteX1" fmla="*/ 3418701 w 3418701"/>
              <a:gd name="connsiteY1" fmla="*/ 1837038 h 2588849"/>
              <a:gd name="connsiteX2" fmla="*/ 2023076 w 3418701"/>
              <a:gd name="connsiteY2" fmla="*/ 2585688 h 2588849"/>
              <a:gd name="connsiteX3" fmla="*/ 6658 w 3418701"/>
              <a:gd name="connsiteY3" fmla="*/ 2588849 h 2588849"/>
              <a:gd name="connsiteX4" fmla="*/ -1 w 3418701"/>
              <a:gd name="connsiteY4" fmla="*/ 0 h 2588849"/>
              <a:gd name="connsiteX0" fmla="*/ 1 w 3367031"/>
              <a:gd name="connsiteY0" fmla="*/ 0 h 2588849"/>
              <a:gd name="connsiteX1" fmla="*/ 3367031 w 3367031"/>
              <a:gd name="connsiteY1" fmla="*/ 1738000 h 2588849"/>
              <a:gd name="connsiteX2" fmla="*/ 2023078 w 3367031"/>
              <a:gd name="connsiteY2" fmla="*/ 2585688 h 2588849"/>
              <a:gd name="connsiteX3" fmla="*/ 6660 w 3367031"/>
              <a:gd name="connsiteY3" fmla="*/ 2588849 h 2588849"/>
              <a:gd name="connsiteX4" fmla="*/ 1 w 3367031"/>
              <a:gd name="connsiteY4" fmla="*/ 0 h 2588849"/>
              <a:gd name="connsiteX0" fmla="*/ -1 w 3367029"/>
              <a:gd name="connsiteY0" fmla="*/ 0 h 2588849"/>
              <a:gd name="connsiteX1" fmla="*/ 3367029 w 3367029"/>
              <a:gd name="connsiteY1" fmla="*/ 1738000 h 2588849"/>
              <a:gd name="connsiteX2" fmla="*/ 1980015 w 3367029"/>
              <a:gd name="connsiteY2" fmla="*/ 2116336 h 2588849"/>
              <a:gd name="connsiteX3" fmla="*/ 6658 w 3367029"/>
              <a:gd name="connsiteY3" fmla="*/ 2588849 h 2588849"/>
              <a:gd name="connsiteX4" fmla="*/ -1 w 3367029"/>
              <a:gd name="connsiteY4" fmla="*/ 0 h 2588849"/>
              <a:gd name="connsiteX0" fmla="*/ 2428 w 3369458"/>
              <a:gd name="connsiteY0" fmla="*/ 0 h 2116336"/>
              <a:gd name="connsiteX1" fmla="*/ 3369458 w 3369458"/>
              <a:gd name="connsiteY1" fmla="*/ 1738000 h 2116336"/>
              <a:gd name="connsiteX2" fmla="*/ 1982444 w 3369458"/>
              <a:gd name="connsiteY2" fmla="*/ 2116336 h 2116336"/>
              <a:gd name="connsiteX3" fmla="*/ 476 w 3369458"/>
              <a:gd name="connsiteY3" fmla="*/ 1258298 h 2116336"/>
              <a:gd name="connsiteX4" fmla="*/ 2428 w 3369458"/>
              <a:gd name="connsiteY4" fmla="*/ 0 h 2116336"/>
              <a:gd name="connsiteX0" fmla="*/ 6564 w 3373594"/>
              <a:gd name="connsiteY0" fmla="*/ 0 h 2116336"/>
              <a:gd name="connsiteX1" fmla="*/ 3373594 w 3373594"/>
              <a:gd name="connsiteY1" fmla="*/ 1738000 h 2116336"/>
              <a:gd name="connsiteX2" fmla="*/ 1986580 w 3373594"/>
              <a:gd name="connsiteY2" fmla="*/ 2116336 h 2116336"/>
              <a:gd name="connsiteX3" fmla="*/ 306 w 3373594"/>
              <a:gd name="connsiteY3" fmla="*/ 1335807 h 2116336"/>
              <a:gd name="connsiteX4" fmla="*/ 6564 w 3373594"/>
              <a:gd name="connsiteY4" fmla="*/ 0 h 2116336"/>
              <a:gd name="connsiteX0" fmla="*/ 6564 w 3403250"/>
              <a:gd name="connsiteY0" fmla="*/ 0 h 3166998"/>
              <a:gd name="connsiteX1" fmla="*/ 3373594 w 3403250"/>
              <a:gd name="connsiteY1" fmla="*/ 1738000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403250"/>
              <a:gd name="connsiteY0" fmla="*/ 0 h 3166998"/>
              <a:gd name="connsiteX1" fmla="*/ 3399429 w 3403250"/>
              <a:gd name="connsiteY1" fmla="*/ 1755224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15101763"/>
              <a:gd name="connsiteY0" fmla="*/ 0 h 9257392"/>
              <a:gd name="connsiteX1" fmla="*/ 3399429 w 15101763"/>
              <a:gd name="connsiteY1" fmla="*/ 1755224 h 9257392"/>
              <a:gd name="connsiteX2" fmla="*/ 15101763 w 15101763"/>
              <a:gd name="connsiteY2" fmla="*/ 9257392 h 9257392"/>
              <a:gd name="connsiteX3" fmla="*/ 306 w 15101763"/>
              <a:gd name="connsiteY3" fmla="*/ 1335807 h 9257392"/>
              <a:gd name="connsiteX4" fmla="*/ 6564 w 15101763"/>
              <a:gd name="connsiteY4" fmla="*/ 0 h 9257392"/>
              <a:gd name="connsiteX0" fmla="*/ 6564 w 15101763"/>
              <a:gd name="connsiteY0" fmla="*/ 0 h 9257392"/>
              <a:gd name="connsiteX1" fmla="*/ 15097942 w 15101763"/>
              <a:gd name="connsiteY1" fmla="*/ 7873177 h 9257392"/>
              <a:gd name="connsiteX2" fmla="*/ 15101763 w 15101763"/>
              <a:gd name="connsiteY2" fmla="*/ 9257392 h 9257392"/>
              <a:gd name="connsiteX3" fmla="*/ 306 w 15101763"/>
              <a:gd name="connsiteY3" fmla="*/ 1335807 h 9257392"/>
              <a:gd name="connsiteX4" fmla="*/ 6564 w 15101763"/>
              <a:gd name="connsiteY4" fmla="*/ 0 h 9257392"/>
              <a:gd name="connsiteX0" fmla="*/ 6564 w 15101763"/>
              <a:gd name="connsiteY0" fmla="*/ 0 h 9360736"/>
              <a:gd name="connsiteX1" fmla="*/ 15097942 w 15101763"/>
              <a:gd name="connsiteY1" fmla="*/ 7976521 h 9360736"/>
              <a:gd name="connsiteX2" fmla="*/ 15101763 w 15101763"/>
              <a:gd name="connsiteY2" fmla="*/ 9360736 h 9360736"/>
              <a:gd name="connsiteX3" fmla="*/ 306 w 15101763"/>
              <a:gd name="connsiteY3" fmla="*/ 1439151 h 9360736"/>
              <a:gd name="connsiteX4" fmla="*/ 6564 w 15101763"/>
              <a:gd name="connsiteY4" fmla="*/ 0 h 9360736"/>
              <a:gd name="connsiteX0" fmla="*/ 10788 w 15105987"/>
              <a:gd name="connsiteY0" fmla="*/ 0 h 9360736"/>
              <a:gd name="connsiteX1" fmla="*/ 15102166 w 15105987"/>
              <a:gd name="connsiteY1" fmla="*/ 7976521 h 9360736"/>
              <a:gd name="connsiteX2" fmla="*/ 15105987 w 15105987"/>
              <a:gd name="connsiteY2" fmla="*/ 9360736 h 9360736"/>
              <a:gd name="connsiteX3" fmla="*/ 224 w 15105987"/>
              <a:gd name="connsiteY3" fmla="*/ 1447762 h 9360736"/>
              <a:gd name="connsiteX4" fmla="*/ 10788 w 15105987"/>
              <a:gd name="connsiteY4" fmla="*/ 0 h 9360736"/>
              <a:gd name="connsiteX0" fmla="*/ 0 w 15108117"/>
              <a:gd name="connsiteY0" fmla="*/ 0 h 9356430"/>
              <a:gd name="connsiteX1" fmla="*/ 15104296 w 15108117"/>
              <a:gd name="connsiteY1" fmla="*/ 7972215 h 9356430"/>
              <a:gd name="connsiteX2" fmla="*/ 15108117 w 15108117"/>
              <a:gd name="connsiteY2" fmla="*/ 9356430 h 9356430"/>
              <a:gd name="connsiteX3" fmla="*/ 2354 w 15108117"/>
              <a:gd name="connsiteY3" fmla="*/ 1443456 h 9356430"/>
              <a:gd name="connsiteX4" fmla="*/ 0 w 15108117"/>
              <a:gd name="connsiteY4" fmla="*/ 0 h 9356430"/>
              <a:gd name="connsiteX0" fmla="*/ 19322 w 15127439"/>
              <a:gd name="connsiteY0" fmla="*/ 0 h 9356430"/>
              <a:gd name="connsiteX1" fmla="*/ 15123618 w 15127439"/>
              <a:gd name="connsiteY1" fmla="*/ 7972215 h 9356430"/>
              <a:gd name="connsiteX2" fmla="*/ 15127439 w 15127439"/>
              <a:gd name="connsiteY2" fmla="*/ 9356430 h 9356430"/>
              <a:gd name="connsiteX3" fmla="*/ 147 w 15127439"/>
              <a:gd name="connsiteY3" fmla="*/ 1439151 h 9356430"/>
              <a:gd name="connsiteX4" fmla="*/ 19322 w 15127439"/>
              <a:gd name="connsiteY4" fmla="*/ 0 h 9356430"/>
              <a:gd name="connsiteX0" fmla="*/ 13623 w 15127482"/>
              <a:gd name="connsiteY0" fmla="*/ 0 h 9356430"/>
              <a:gd name="connsiteX1" fmla="*/ 15123661 w 15127482"/>
              <a:gd name="connsiteY1" fmla="*/ 7972215 h 9356430"/>
              <a:gd name="connsiteX2" fmla="*/ 15127482 w 15127482"/>
              <a:gd name="connsiteY2" fmla="*/ 9356430 h 9356430"/>
              <a:gd name="connsiteX3" fmla="*/ 190 w 15127482"/>
              <a:gd name="connsiteY3" fmla="*/ 1439151 h 9356430"/>
              <a:gd name="connsiteX4" fmla="*/ 13623 w 15127482"/>
              <a:gd name="connsiteY4" fmla="*/ 0 h 9356430"/>
              <a:gd name="connsiteX0" fmla="*/ 13626 w 15127484"/>
              <a:gd name="connsiteY0" fmla="*/ 0 h 9352124"/>
              <a:gd name="connsiteX1" fmla="*/ 15123663 w 15127484"/>
              <a:gd name="connsiteY1" fmla="*/ 7967909 h 9352124"/>
              <a:gd name="connsiteX2" fmla="*/ 15127484 w 15127484"/>
              <a:gd name="connsiteY2" fmla="*/ 9352124 h 9352124"/>
              <a:gd name="connsiteX3" fmla="*/ 192 w 15127484"/>
              <a:gd name="connsiteY3" fmla="*/ 1434845 h 9352124"/>
              <a:gd name="connsiteX4" fmla="*/ 13626 w 15127484"/>
              <a:gd name="connsiteY4" fmla="*/ 0 h 93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7484" h="9352124">
                <a:moveTo>
                  <a:pt x="13626" y="0"/>
                </a:moveTo>
                <a:lnTo>
                  <a:pt x="15123663" y="7967909"/>
                </a:lnTo>
                <a:cubicBezTo>
                  <a:pt x="15124937" y="8438500"/>
                  <a:pt x="15126210" y="8881533"/>
                  <a:pt x="15127484" y="9352124"/>
                </a:cubicBezTo>
                <a:lnTo>
                  <a:pt x="192" y="1434845"/>
                </a:lnTo>
                <a:cubicBezTo>
                  <a:pt x="-2028" y="599167"/>
                  <a:pt x="15846" y="835678"/>
                  <a:pt x="13626" y="0"/>
                </a:cubicBezTo>
                <a:close/>
              </a:path>
            </a:pathLst>
          </a:custGeom>
          <a:solidFill>
            <a:srgbClr val="FF6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
          <p:cNvSpPr/>
          <p:nvPr/>
        </p:nvSpPr>
        <p:spPr>
          <a:xfrm>
            <a:off x="10215867" y="1257192"/>
            <a:ext cx="1981690" cy="1955371"/>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2875005"/>
              <a:gd name="connsiteX1" fmla="*/ 4860324 w 4860324"/>
              <a:gd name="connsiteY1" fmla="*/ 1301579 h 2875005"/>
              <a:gd name="connsiteX2" fmla="*/ 1861752 w 4860324"/>
              <a:gd name="connsiteY2" fmla="*/ 2875005 h 2875005"/>
              <a:gd name="connsiteX3" fmla="*/ 0 w 4860324"/>
              <a:gd name="connsiteY3" fmla="*/ 1911179 h 2875005"/>
              <a:gd name="connsiteX4" fmla="*/ 8238 w 4860324"/>
              <a:gd name="connsiteY4" fmla="*/ 0 h 2875005"/>
              <a:gd name="connsiteX0" fmla="*/ 8238 w 3426940"/>
              <a:gd name="connsiteY0" fmla="*/ 0 h 2875005"/>
              <a:gd name="connsiteX1" fmla="*/ 3426940 w 3426940"/>
              <a:gd name="connsiteY1" fmla="*/ 1837038 h 2875005"/>
              <a:gd name="connsiteX2" fmla="*/ 1861752 w 3426940"/>
              <a:gd name="connsiteY2" fmla="*/ 2875005 h 2875005"/>
              <a:gd name="connsiteX3" fmla="*/ 0 w 3426940"/>
              <a:gd name="connsiteY3" fmla="*/ 1911179 h 2875005"/>
              <a:gd name="connsiteX4" fmla="*/ 8238 w 3426940"/>
              <a:gd name="connsiteY4" fmla="*/ 0 h 2875005"/>
              <a:gd name="connsiteX0" fmla="*/ -1 w 3418701"/>
              <a:gd name="connsiteY0" fmla="*/ 0 h 2875005"/>
              <a:gd name="connsiteX1" fmla="*/ 3418701 w 3418701"/>
              <a:gd name="connsiteY1" fmla="*/ 1837038 h 2875005"/>
              <a:gd name="connsiteX2" fmla="*/ 1853513 w 3418701"/>
              <a:gd name="connsiteY2" fmla="*/ 2875005 h 2875005"/>
              <a:gd name="connsiteX3" fmla="*/ 6658 w 3418701"/>
              <a:gd name="connsiteY3" fmla="*/ 2507034 h 2875005"/>
              <a:gd name="connsiteX4" fmla="*/ -1 w 3418701"/>
              <a:gd name="connsiteY4" fmla="*/ 0 h 2875005"/>
              <a:gd name="connsiteX0" fmla="*/ 1 w 3418703"/>
              <a:gd name="connsiteY0" fmla="*/ 0 h 2577077"/>
              <a:gd name="connsiteX1" fmla="*/ 3418703 w 3418703"/>
              <a:gd name="connsiteY1" fmla="*/ 1837038 h 2577077"/>
              <a:gd name="connsiteX2" fmla="*/ 1898205 w 3418703"/>
              <a:gd name="connsiteY2" fmla="*/ 2577077 h 2577077"/>
              <a:gd name="connsiteX3" fmla="*/ 6660 w 3418703"/>
              <a:gd name="connsiteY3" fmla="*/ 2507034 h 2577077"/>
              <a:gd name="connsiteX4" fmla="*/ 1 w 3418703"/>
              <a:gd name="connsiteY4" fmla="*/ 0 h 2577077"/>
              <a:gd name="connsiteX0" fmla="*/ -1 w 3418701"/>
              <a:gd name="connsiteY0" fmla="*/ 0 h 2568464"/>
              <a:gd name="connsiteX1" fmla="*/ 3418701 w 3418701"/>
              <a:gd name="connsiteY1" fmla="*/ 1837038 h 2568464"/>
              <a:gd name="connsiteX2" fmla="*/ 2023076 w 3418701"/>
              <a:gd name="connsiteY2" fmla="*/ 2568464 h 2568464"/>
              <a:gd name="connsiteX3" fmla="*/ 6658 w 3418701"/>
              <a:gd name="connsiteY3" fmla="*/ 2507034 h 2568464"/>
              <a:gd name="connsiteX4" fmla="*/ -1 w 3418701"/>
              <a:gd name="connsiteY4" fmla="*/ 0 h 2568464"/>
              <a:gd name="connsiteX0" fmla="*/ 1 w 3418703"/>
              <a:gd name="connsiteY0" fmla="*/ 0 h 2588849"/>
              <a:gd name="connsiteX1" fmla="*/ 3418703 w 3418703"/>
              <a:gd name="connsiteY1" fmla="*/ 1837038 h 2588849"/>
              <a:gd name="connsiteX2" fmla="*/ 2023078 w 3418703"/>
              <a:gd name="connsiteY2" fmla="*/ 2568464 h 2588849"/>
              <a:gd name="connsiteX3" fmla="*/ 6660 w 3418703"/>
              <a:gd name="connsiteY3" fmla="*/ 2588849 h 2588849"/>
              <a:gd name="connsiteX4" fmla="*/ 1 w 3418703"/>
              <a:gd name="connsiteY4" fmla="*/ 0 h 2588849"/>
              <a:gd name="connsiteX0" fmla="*/ -1 w 3418701"/>
              <a:gd name="connsiteY0" fmla="*/ 0 h 2588849"/>
              <a:gd name="connsiteX1" fmla="*/ 3418701 w 3418701"/>
              <a:gd name="connsiteY1" fmla="*/ 1837038 h 2588849"/>
              <a:gd name="connsiteX2" fmla="*/ 2023076 w 3418701"/>
              <a:gd name="connsiteY2" fmla="*/ 2585688 h 2588849"/>
              <a:gd name="connsiteX3" fmla="*/ 6658 w 3418701"/>
              <a:gd name="connsiteY3" fmla="*/ 2588849 h 2588849"/>
              <a:gd name="connsiteX4" fmla="*/ -1 w 3418701"/>
              <a:gd name="connsiteY4" fmla="*/ 0 h 2588849"/>
              <a:gd name="connsiteX0" fmla="*/ 1 w 3367031"/>
              <a:gd name="connsiteY0" fmla="*/ 0 h 2588849"/>
              <a:gd name="connsiteX1" fmla="*/ 3367031 w 3367031"/>
              <a:gd name="connsiteY1" fmla="*/ 1738000 h 2588849"/>
              <a:gd name="connsiteX2" fmla="*/ 2023078 w 3367031"/>
              <a:gd name="connsiteY2" fmla="*/ 2585688 h 2588849"/>
              <a:gd name="connsiteX3" fmla="*/ 6660 w 3367031"/>
              <a:gd name="connsiteY3" fmla="*/ 2588849 h 2588849"/>
              <a:gd name="connsiteX4" fmla="*/ 1 w 3367031"/>
              <a:gd name="connsiteY4" fmla="*/ 0 h 2588849"/>
              <a:gd name="connsiteX0" fmla="*/ -1 w 3367029"/>
              <a:gd name="connsiteY0" fmla="*/ 0 h 2588849"/>
              <a:gd name="connsiteX1" fmla="*/ 3367029 w 3367029"/>
              <a:gd name="connsiteY1" fmla="*/ 1738000 h 2588849"/>
              <a:gd name="connsiteX2" fmla="*/ 1980015 w 3367029"/>
              <a:gd name="connsiteY2" fmla="*/ 2116336 h 2588849"/>
              <a:gd name="connsiteX3" fmla="*/ 6658 w 3367029"/>
              <a:gd name="connsiteY3" fmla="*/ 2588849 h 2588849"/>
              <a:gd name="connsiteX4" fmla="*/ -1 w 3367029"/>
              <a:gd name="connsiteY4" fmla="*/ 0 h 2588849"/>
              <a:gd name="connsiteX0" fmla="*/ 2428 w 3369458"/>
              <a:gd name="connsiteY0" fmla="*/ 0 h 2116336"/>
              <a:gd name="connsiteX1" fmla="*/ 3369458 w 3369458"/>
              <a:gd name="connsiteY1" fmla="*/ 1738000 h 2116336"/>
              <a:gd name="connsiteX2" fmla="*/ 1982444 w 3369458"/>
              <a:gd name="connsiteY2" fmla="*/ 2116336 h 2116336"/>
              <a:gd name="connsiteX3" fmla="*/ 476 w 3369458"/>
              <a:gd name="connsiteY3" fmla="*/ 1258298 h 2116336"/>
              <a:gd name="connsiteX4" fmla="*/ 2428 w 3369458"/>
              <a:gd name="connsiteY4" fmla="*/ 0 h 2116336"/>
              <a:gd name="connsiteX0" fmla="*/ 6564 w 3373594"/>
              <a:gd name="connsiteY0" fmla="*/ 0 h 2116336"/>
              <a:gd name="connsiteX1" fmla="*/ 3373594 w 3373594"/>
              <a:gd name="connsiteY1" fmla="*/ 1738000 h 2116336"/>
              <a:gd name="connsiteX2" fmla="*/ 1986580 w 3373594"/>
              <a:gd name="connsiteY2" fmla="*/ 2116336 h 2116336"/>
              <a:gd name="connsiteX3" fmla="*/ 306 w 3373594"/>
              <a:gd name="connsiteY3" fmla="*/ 1335807 h 2116336"/>
              <a:gd name="connsiteX4" fmla="*/ 6564 w 3373594"/>
              <a:gd name="connsiteY4" fmla="*/ 0 h 2116336"/>
              <a:gd name="connsiteX0" fmla="*/ 6564 w 3403250"/>
              <a:gd name="connsiteY0" fmla="*/ 0 h 3166998"/>
              <a:gd name="connsiteX1" fmla="*/ 3373594 w 3403250"/>
              <a:gd name="connsiteY1" fmla="*/ 1738000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403250"/>
              <a:gd name="connsiteY0" fmla="*/ 0 h 3166998"/>
              <a:gd name="connsiteX1" fmla="*/ 3399429 w 3403250"/>
              <a:gd name="connsiteY1" fmla="*/ 1755224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403250"/>
              <a:gd name="connsiteY0" fmla="*/ 0 h 3166998"/>
              <a:gd name="connsiteX1" fmla="*/ 3386511 w 3403250"/>
              <a:gd name="connsiteY1" fmla="*/ 1750919 h 3166998"/>
              <a:gd name="connsiteX2" fmla="*/ 3403250 w 3403250"/>
              <a:gd name="connsiteY2" fmla="*/ 3166998 h 3166998"/>
              <a:gd name="connsiteX3" fmla="*/ 306 w 3403250"/>
              <a:gd name="connsiteY3" fmla="*/ 1335807 h 3166998"/>
              <a:gd name="connsiteX4" fmla="*/ 6564 w 3403250"/>
              <a:gd name="connsiteY4" fmla="*/ 0 h 3166998"/>
              <a:gd name="connsiteX0" fmla="*/ 6564 w 3535300"/>
              <a:gd name="connsiteY0" fmla="*/ 0 h 3488512"/>
              <a:gd name="connsiteX1" fmla="*/ 3386511 w 3535300"/>
              <a:gd name="connsiteY1" fmla="*/ 1750919 h 3488512"/>
              <a:gd name="connsiteX2" fmla="*/ 3535300 w 3535300"/>
              <a:gd name="connsiteY2" fmla="*/ 3488512 h 3488512"/>
              <a:gd name="connsiteX3" fmla="*/ 306 w 3535300"/>
              <a:gd name="connsiteY3" fmla="*/ 1335807 h 3488512"/>
              <a:gd name="connsiteX4" fmla="*/ 6564 w 3535300"/>
              <a:gd name="connsiteY4" fmla="*/ 0 h 3488512"/>
              <a:gd name="connsiteX0" fmla="*/ 6564 w 3535300"/>
              <a:gd name="connsiteY0" fmla="*/ 0 h 3488512"/>
              <a:gd name="connsiteX1" fmla="*/ 3386511 w 3535300"/>
              <a:gd name="connsiteY1" fmla="*/ 1750919 h 3488512"/>
              <a:gd name="connsiteX2" fmla="*/ 3535300 w 3535300"/>
              <a:gd name="connsiteY2" fmla="*/ 3488512 h 3488512"/>
              <a:gd name="connsiteX3" fmla="*/ 306 w 3535300"/>
              <a:gd name="connsiteY3" fmla="*/ 1375997 h 3488512"/>
              <a:gd name="connsiteX4" fmla="*/ 6564 w 3535300"/>
              <a:gd name="connsiteY4" fmla="*/ 0 h 3488512"/>
              <a:gd name="connsiteX0" fmla="*/ 6564 w 3553066"/>
              <a:gd name="connsiteY0" fmla="*/ 0 h 3488512"/>
              <a:gd name="connsiteX1" fmla="*/ 3553009 w 3553066"/>
              <a:gd name="connsiteY1" fmla="*/ 2049467 h 3488512"/>
              <a:gd name="connsiteX2" fmla="*/ 3535300 w 3553066"/>
              <a:gd name="connsiteY2" fmla="*/ 3488512 h 3488512"/>
              <a:gd name="connsiteX3" fmla="*/ 306 w 3553066"/>
              <a:gd name="connsiteY3" fmla="*/ 1375997 h 3488512"/>
              <a:gd name="connsiteX4" fmla="*/ 6564 w 3553066"/>
              <a:gd name="connsiteY4" fmla="*/ 0 h 3488512"/>
              <a:gd name="connsiteX0" fmla="*/ 6564 w 3553066"/>
              <a:gd name="connsiteY0" fmla="*/ 0 h 3488512"/>
              <a:gd name="connsiteX1" fmla="*/ 3553009 w 3553066"/>
              <a:gd name="connsiteY1" fmla="*/ 2049467 h 3488512"/>
              <a:gd name="connsiteX2" fmla="*/ 3535300 w 3553066"/>
              <a:gd name="connsiteY2" fmla="*/ 3488512 h 3488512"/>
              <a:gd name="connsiteX3" fmla="*/ 306 w 3553066"/>
              <a:gd name="connsiteY3" fmla="*/ 1375997 h 3488512"/>
              <a:gd name="connsiteX4" fmla="*/ 6564 w 3553066"/>
              <a:gd name="connsiteY4" fmla="*/ 0 h 3488512"/>
              <a:gd name="connsiteX0" fmla="*/ 0 w 3555115"/>
              <a:gd name="connsiteY0" fmla="*/ 0 h 3501430"/>
              <a:gd name="connsiteX1" fmla="*/ 3555058 w 3555115"/>
              <a:gd name="connsiteY1" fmla="*/ 2062385 h 3501430"/>
              <a:gd name="connsiteX2" fmla="*/ 3537349 w 3555115"/>
              <a:gd name="connsiteY2" fmla="*/ 3501430 h 3501430"/>
              <a:gd name="connsiteX3" fmla="*/ 2355 w 3555115"/>
              <a:gd name="connsiteY3" fmla="*/ 1388915 h 3501430"/>
              <a:gd name="connsiteX4" fmla="*/ 0 w 3555115"/>
              <a:gd name="connsiteY4" fmla="*/ 0 h 3501430"/>
              <a:gd name="connsiteX0" fmla="*/ 0 w 3555115"/>
              <a:gd name="connsiteY0" fmla="*/ 0 h 3510043"/>
              <a:gd name="connsiteX1" fmla="*/ 3555058 w 3555115"/>
              <a:gd name="connsiteY1" fmla="*/ 2070998 h 3510043"/>
              <a:gd name="connsiteX2" fmla="*/ 3537349 w 3555115"/>
              <a:gd name="connsiteY2" fmla="*/ 3510043 h 3510043"/>
              <a:gd name="connsiteX3" fmla="*/ 2355 w 3555115"/>
              <a:gd name="connsiteY3" fmla="*/ 1397528 h 3510043"/>
              <a:gd name="connsiteX4" fmla="*/ 0 w 3555115"/>
              <a:gd name="connsiteY4" fmla="*/ 0 h 3510043"/>
              <a:gd name="connsiteX0" fmla="*/ 10786 w 3565901"/>
              <a:gd name="connsiteY0" fmla="*/ 0 h 3510043"/>
              <a:gd name="connsiteX1" fmla="*/ 3565844 w 3565901"/>
              <a:gd name="connsiteY1" fmla="*/ 2070998 h 3510043"/>
              <a:gd name="connsiteX2" fmla="*/ 3548135 w 3565901"/>
              <a:gd name="connsiteY2" fmla="*/ 3510043 h 3510043"/>
              <a:gd name="connsiteX3" fmla="*/ 224 w 3565901"/>
              <a:gd name="connsiteY3" fmla="*/ 1384610 h 3510043"/>
              <a:gd name="connsiteX4" fmla="*/ 10786 w 3565901"/>
              <a:gd name="connsiteY4" fmla="*/ 0 h 3510043"/>
              <a:gd name="connsiteX0" fmla="*/ 2426 w 3566152"/>
              <a:gd name="connsiteY0" fmla="*/ 0 h 3514349"/>
              <a:gd name="connsiteX1" fmla="*/ 3566095 w 3566152"/>
              <a:gd name="connsiteY1" fmla="*/ 2075304 h 3514349"/>
              <a:gd name="connsiteX2" fmla="*/ 3548386 w 3566152"/>
              <a:gd name="connsiteY2" fmla="*/ 3514349 h 3514349"/>
              <a:gd name="connsiteX3" fmla="*/ 475 w 3566152"/>
              <a:gd name="connsiteY3" fmla="*/ 1388916 h 3514349"/>
              <a:gd name="connsiteX4" fmla="*/ 2426 w 3566152"/>
              <a:gd name="connsiteY4" fmla="*/ 0 h 3514349"/>
              <a:gd name="connsiteX0" fmla="*/ 2426 w 3578528"/>
              <a:gd name="connsiteY0" fmla="*/ 0 h 3535879"/>
              <a:gd name="connsiteX1" fmla="*/ 3566095 w 3578528"/>
              <a:gd name="connsiteY1" fmla="*/ 2075304 h 3535879"/>
              <a:gd name="connsiteX2" fmla="*/ 3578528 w 3578528"/>
              <a:gd name="connsiteY2" fmla="*/ 3535879 h 3535879"/>
              <a:gd name="connsiteX3" fmla="*/ 475 w 3578528"/>
              <a:gd name="connsiteY3" fmla="*/ 1388916 h 3535879"/>
              <a:gd name="connsiteX4" fmla="*/ 2426 w 3578528"/>
              <a:gd name="connsiteY4" fmla="*/ 0 h 3535879"/>
              <a:gd name="connsiteX0" fmla="*/ 2426 w 3583468"/>
              <a:gd name="connsiteY0" fmla="*/ 0 h 3535879"/>
              <a:gd name="connsiteX1" fmla="*/ 3583320 w 3583468"/>
              <a:gd name="connsiteY1" fmla="*/ 2088223 h 3535879"/>
              <a:gd name="connsiteX2" fmla="*/ 3578528 w 3583468"/>
              <a:gd name="connsiteY2" fmla="*/ 3535879 h 3535879"/>
              <a:gd name="connsiteX3" fmla="*/ 475 w 3583468"/>
              <a:gd name="connsiteY3" fmla="*/ 1388916 h 3535879"/>
              <a:gd name="connsiteX4" fmla="*/ 2426 w 3583468"/>
              <a:gd name="connsiteY4" fmla="*/ 0 h 353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468" h="3535879">
                <a:moveTo>
                  <a:pt x="2426" y="0"/>
                </a:moveTo>
                <a:lnTo>
                  <a:pt x="3583320" y="2088223"/>
                </a:lnTo>
                <a:cubicBezTo>
                  <a:pt x="3584594" y="2558814"/>
                  <a:pt x="3577254" y="3065288"/>
                  <a:pt x="3578528" y="3535879"/>
                </a:cubicBezTo>
                <a:lnTo>
                  <a:pt x="475" y="1388916"/>
                </a:lnTo>
                <a:cubicBezTo>
                  <a:pt x="-1745" y="553238"/>
                  <a:pt x="4646" y="835678"/>
                  <a:pt x="2426" y="0"/>
                </a:cubicBezTo>
                <a:close/>
              </a:path>
            </a:pathLst>
          </a:custGeom>
          <a:solidFill>
            <a:srgbClr val="FF6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
          <p:cNvSpPr/>
          <p:nvPr/>
        </p:nvSpPr>
        <p:spPr>
          <a:xfrm>
            <a:off x="-12150" y="-20941"/>
            <a:ext cx="6547837" cy="4100100"/>
          </a:xfrm>
          <a:custGeom>
            <a:avLst/>
            <a:gdLst>
              <a:gd name="connsiteX0" fmla="*/ 0 w 1886465"/>
              <a:gd name="connsiteY0" fmla="*/ 0 h 4407243"/>
              <a:gd name="connsiteX1" fmla="*/ 1886465 w 1886465"/>
              <a:gd name="connsiteY1" fmla="*/ 0 h 4407243"/>
              <a:gd name="connsiteX2" fmla="*/ 1886465 w 1886465"/>
              <a:gd name="connsiteY2" fmla="*/ 4407243 h 4407243"/>
              <a:gd name="connsiteX3" fmla="*/ 0 w 1886465"/>
              <a:gd name="connsiteY3" fmla="*/ 4407243 h 4407243"/>
              <a:gd name="connsiteX4" fmla="*/ 0 w 1886465"/>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4407243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16476 w 4860324"/>
              <a:gd name="connsiteY3" fmla="*/ 3328086 h 4407243"/>
              <a:gd name="connsiteX4" fmla="*/ 0 w 4860324"/>
              <a:gd name="connsiteY4" fmla="*/ 0 h 4407243"/>
              <a:gd name="connsiteX0" fmla="*/ 0 w 4860324"/>
              <a:gd name="connsiteY0" fmla="*/ 0 h 4407243"/>
              <a:gd name="connsiteX1" fmla="*/ 4860324 w 4860324"/>
              <a:gd name="connsiteY1" fmla="*/ 2842054 h 4407243"/>
              <a:gd name="connsiteX2" fmla="*/ 1886465 w 4860324"/>
              <a:gd name="connsiteY2" fmla="*/ 4407243 h 4407243"/>
              <a:gd name="connsiteX3" fmla="*/ 0 w 4860324"/>
              <a:gd name="connsiteY3" fmla="*/ 3451654 h 4407243"/>
              <a:gd name="connsiteX4" fmla="*/ 0 w 4860324"/>
              <a:gd name="connsiteY4" fmla="*/ 0 h 4407243"/>
              <a:gd name="connsiteX0" fmla="*/ 8238 w 4860324"/>
              <a:gd name="connsiteY0" fmla="*/ 0 h 4456670"/>
              <a:gd name="connsiteX1" fmla="*/ 4860324 w 4860324"/>
              <a:gd name="connsiteY1" fmla="*/ 2891481 h 4456670"/>
              <a:gd name="connsiteX2" fmla="*/ 1886465 w 4860324"/>
              <a:gd name="connsiteY2" fmla="*/ 4456670 h 4456670"/>
              <a:gd name="connsiteX3" fmla="*/ 0 w 4860324"/>
              <a:gd name="connsiteY3" fmla="*/ 3501081 h 4456670"/>
              <a:gd name="connsiteX4" fmla="*/ 8238 w 4860324"/>
              <a:gd name="connsiteY4" fmla="*/ 0 h 4456670"/>
              <a:gd name="connsiteX0" fmla="*/ 8238 w 4860324"/>
              <a:gd name="connsiteY0" fmla="*/ 0 h 4448432"/>
              <a:gd name="connsiteX1" fmla="*/ 4860324 w 4860324"/>
              <a:gd name="connsiteY1" fmla="*/ 2891481 h 4448432"/>
              <a:gd name="connsiteX2" fmla="*/ 1853514 w 4860324"/>
              <a:gd name="connsiteY2" fmla="*/ 4448432 h 4448432"/>
              <a:gd name="connsiteX3" fmla="*/ 0 w 4860324"/>
              <a:gd name="connsiteY3" fmla="*/ 3501081 h 4448432"/>
              <a:gd name="connsiteX4" fmla="*/ 8238 w 4860324"/>
              <a:gd name="connsiteY4" fmla="*/ 0 h 4448432"/>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8238 w 4860324"/>
              <a:gd name="connsiteY0" fmla="*/ 0 h 4464907"/>
              <a:gd name="connsiteX1" fmla="*/ 4860324 w 4860324"/>
              <a:gd name="connsiteY1" fmla="*/ 2891481 h 4464907"/>
              <a:gd name="connsiteX2" fmla="*/ 1861752 w 4860324"/>
              <a:gd name="connsiteY2" fmla="*/ 4464907 h 4464907"/>
              <a:gd name="connsiteX3" fmla="*/ 0 w 4860324"/>
              <a:gd name="connsiteY3" fmla="*/ 3501081 h 4464907"/>
              <a:gd name="connsiteX4" fmla="*/ 8238 w 4860324"/>
              <a:gd name="connsiteY4" fmla="*/ 0 h 4464907"/>
              <a:gd name="connsiteX0" fmla="*/ 618 w 4860324"/>
              <a:gd name="connsiteY0" fmla="*/ 0 h 4457287"/>
              <a:gd name="connsiteX1" fmla="*/ 4860324 w 4860324"/>
              <a:gd name="connsiteY1" fmla="*/ 2883861 h 4457287"/>
              <a:gd name="connsiteX2" fmla="*/ 1861752 w 4860324"/>
              <a:gd name="connsiteY2" fmla="*/ 4457287 h 4457287"/>
              <a:gd name="connsiteX3" fmla="*/ 0 w 4860324"/>
              <a:gd name="connsiteY3" fmla="*/ 3493461 h 4457287"/>
              <a:gd name="connsiteX4" fmla="*/ 618 w 4860324"/>
              <a:gd name="connsiteY4" fmla="*/ 0 h 4457287"/>
              <a:gd name="connsiteX0" fmla="*/ 618 w 6612924"/>
              <a:gd name="connsiteY0" fmla="*/ 0 h 5436561"/>
              <a:gd name="connsiteX1" fmla="*/ 6612924 w 6612924"/>
              <a:gd name="connsiteY1" fmla="*/ 5436561 h 5436561"/>
              <a:gd name="connsiteX2" fmla="*/ 1861752 w 6612924"/>
              <a:gd name="connsiteY2" fmla="*/ 4457287 h 5436561"/>
              <a:gd name="connsiteX3" fmla="*/ 0 w 6612924"/>
              <a:gd name="connsiteY3" fmla="*/ 3493461 h 5436561"/>
              <a:gd name="connsiteX4" fmla="*/ 618 w 6612924"/>
              <a:gd name="connsiteY4" fmla="*/ 0 h 5436561"/>
              <a:gd name="connsiteX0" fmla="*/ 10143 w 6612924"/>
              <a:gd name="connsiteY0" fmla="*/ 0 h 3312486"/>
              <a:gd name="connsiteX1" fmla="*/ 6612924 w 6612924"/>
              <a:gd name="connsiteY1" fmla="*/ 3312486 h 3312486"/>
              <a:gd name="connsiteX2" fmla="*/ 1861752 w 6612924"/>
              <a:gd name="connsiteY2" fmla="*/ 2333212 h 3312486"/>
              <a:gd name="connsiteX3" fmla="*/ 0 w 6612924"/>
              <a:gd name="connsiteY3" fmla="*/ 1369386 h 3312486"/>
              <a:gd name="connsiteX4" fmla="*/ 10143 w 6612924"/>
              <a:gd name="connsiteY4" fmla="*/ 0 h 3312486"/>
              <a:gd name="connsiteX0" fmla="*/ 10143 w 6612924"/>
              <a:gd name="connsiteY0" fmla="*/ 0 h 4171537"/>
              <a:gd name="connsiteX1" fmla="*/ 6612924 w 6612924"/>
              <a:gd name="connsiteY1" fmla="*/ 3312486 h 4171537"/>
              <a:gd name="connsiteX2" fmla="*/ 4900227 w 6612924"/>
              <a:gd name="connsiteY2" fmla="*/ 4171537 h 4171537"/>
              <a:gd name="connsiteX3" fmla="*/ 0 w 6612924"/>
              <a:gd name="connsiteY3" fmla="*/ 1369386 h 4171537"/>
              <a:gd name="connsiteX4" fmla="*/ 10143 w 6612924"/>
              <a:gd name="connsiteY4" fmla="*/ 0 h 4171537"/>
              <a:gd name="connsiteX0" fmla="*/ 10143 w 6612924"/>
              <a:gd name="connsiteY0" fmla="*/ 0 h 4171537"/>
              <a:gd name="connsiteX1" fmla="*/ 1126574 w 6612924"/>
              <a:gd name="connsiteY1" fmla="*/ 554342 h 4171537"/>
              <a:gd name="connsiteX2" fmla="*/ 6612924 w 6612924"/>
              <a:gd name="connsiteY2" fmla="*/ 3312486 h 4171537"/>
              <a:gd name="connsiteX3" fmla="*/ 4900227 w 6612924"/>
              <a:gd name="connsiteY3" fmla="*/ 4171537 h 4171537"/>
              <a:gd name="connsiteX4" fmla="*/ 0 w 6612924"/>
              <a:gd name="connsiteY4" fmla="*/ 1369386 h 4171537"/>
              <a:gd name="connsiteX5" fmla="*/ 10143 w 6612924"/>
              <a:gd name="connsiteY5" fmla="*/ 0 h 4171537"/>
              <a:gd name="connsiteX0" fmla="*/ 10143 w 6612924"/>
              <a:gd name="connsiteY0" fmla="*/ 0 h 4171537"/>
              <a:gd name="connsiteX1" fmla="*/ 1174199 w 6612924"/>
              <a:gd name="connsiteY1" fmla="*/ 87617 h 4171537"/>
              <a:gd name="connsiteX2" fmla="*/ 6612924 w 6612924"/>
              <a:gd name="connsiteY2" fmla="*/ 3312486 h 4171537"/>
              <a:gd name="connsiteX3" fmla="*/ 4900227 w 6612924"/>
              <a:gd name="connsiteY3" fmla="*/ 4171537 h 4171537"/>
              <a:gd name="connsiteX4" fmla="*/ 0 w 6612924"/>
              <a:gd name="connsiteY4" fmla="*/ 1369386 h 4171537"/>
              <a:gd name="connsiteX5" fmla="*/ 10143 w 6612924"/>
              <a:gd name="connsiteY5" fmla="*/ 0 h 4171537"/>
              <a:gd name="connsiteX0" fmla="*/ 618 w 6612924"/>
              <a:gd name="connsiteY0" fmla="*/ 0 h 4104862"/>
              <a:gd name="connsiteX1" fmla="*/ 1174199 w 6612924"/>
              <a:gd name="connsiteY1" fmla="*/ 20942 h 4104862"/>
              <a:gd name="connsiteX2" fmla="*/ 6612924 w 6612924"/>
              <a:gd name="connsiteY2" fmla="*/ 3245811 h 4104862"/>
              <a:gd name="connsiteX3" fmla="*/ 4900227 w 6612924"/>
              <a:gd name="connsiteY3" fmla="*/ 4104862 h 4104862"/>
              <a:gd name="connsiteX4" fmla="*/ 0 w 6612924"/>
              <a:gd name="connsiteY4" fmla="*/ 1302711 h 4104862"/>
              <a:gd name="connsiteX5" fmla="*/ 618 w 6612924"/>
              <a:gd name="connsiteY5" fmla="*/ 0 h 4104862"/>
              <a:gd name="connsiteX0" fmla="*/ 618 w 6612924"/>
              <a:gd name="connsiteY0" fmla="*/ 0 h 4095337"/>
              <a:gd name="connsiteX1" fmla="*/ 1174199 w 6612924"/>
              <a:gd name="connsiteY1" fmla="*/ 20942 h 4095337"/>
              <a:gd name="connsiteX2" fmla="*/ 6612924 w 6612924"/>
              <a:gd name="connsiteY2" fmla="*/ 3245811 h 4095337"/>
              <a:gd name="connsiteX3" fmla="*/ 4862127 w 6612924"/>
              <a:gd name="connsiteY3" fmla="*/ 4095337 h 4095337"/>
              <a:gd name="connsiteX4" fmla="*/ 0 w 6612924"/>
              <a:gd name="connsiteY4" fmla="*/ 1302711 h 4095337"/>
              <a:gd name="connsiteX5" fmla="*/ 618 w 6612924"/>
              <a:gd name="connsiteY5" fmla="*/ 0 h 4095337"/>
              <a:gd name="connsiteX0" fmla="*/ 618 w 6552599"/>
              <a:gd name="connsiteY0" fmla="*/ 0 h 4095337"/>
              <a:gd name="connsiteX1" fmla="*/ 1174199 w 6552599"/>
              <a:gd name="connsiteY1" fmla="*/ 20942 h 4095337"/>
              <a:gd name="connsiteX2" fmla="*/ 6552599 w 6552599"/>
              <a:gd name="connsiteY2" fmla="*/ 3217236 h 4095337"/>
              <a:gd name="connsiteX3" fmla="*/ 4862127 w 6552599"/>
              <a:gd name="connsiteY3" fmla="*/ 4095337 h 4095337"/>
              <a:gd name="connsiteX4" fmla="*/ 0 w 6552599"/>
              <a:gd name="connsiteY4" fmla="*/ 1302711 h 4095337"/>
              <a:gd name="connsiteX5" fmla="*/ 618 w 6552599"/>
              <a:gd name="connsiteY5" fmla="*/ 0 h 4095337"/>
              <a:gd name="connsiteX0" fmla="*/ 618 w 6552599"/>
              <a:gd name="connsiteY0" fmla="*/ 0 h 4104862"/>
              <a:gd name="connsiteX1" fmla="*/ 1174199 w 6552599"/>
              <a:gd name="connsiteY1" fmla="*/ 20942 h 4104862"/>
              <a:gd name="connsiteX2" fmla="*/ 6552599 w 6552599"/>
              <a:gd name="connsiteY2" fmla="*/ 3217236 h 4104862"/>
              <a:gd name="connsiteX3" fmla="*/ 4852602 w 6552599"/>
              <a:gd name="connsiteY3" fmla="*/ 4104862 h 4104862"/>
              <a:gd name="connsiteX4" fmla="*/ 0 w 6552599"/>
              <a:gd name="connsiteY4" fmla="*/ 1302711 h 4104862"/>
              <a:gd name="connsiteX5" fmla="*/ 618 w 6552599"/>
              <a:gd name="connsiteY5" fmla="*/ 0 h 4104862"/>
              <a:gd name="connsiteX0" fmla="*/ 618 w 6538312"/>
              <a:gd name="connsiteY0" fmla="*/ 0 h 4104862"/>
              <a:gd name="connsiteX1" fmla="*/ 1174199 w 6538312"/>
              <a:gd name="connsiteY1" fmla="*/ 20942 h 4104862"/>
              <a:gd name="connsiteX2" fmla="*/ 6538312 w 6538312"/>
              <a:gd name="connsiteY2" fmla="*/ 3214855 h 4104862"/>
              <a:gd name="connsiteX3" fmla="*/ 4852602 w 6538312"/>
              <a:gd name="connsiteY3" fmla="*/ 4104862 h 4104862"/>
              <a:gd name="connsiteX4" fmla="*/ 0 w 6538312"/>
              <a:gd name="connsiteY4" fmla="*/ 1302711 h 4104862"/>
              <a:gd name="connsiteX5" fmla="*/ 618 w 6538312"/>
              <a:gd name="connsiteY5" fmla="*/ 0 h 4104862"/>
              <a:gd name="connsiteX0" fmla="*/ 618 w 6538312"/>
              <a:gd name="connsiteY0" fmla="*/ 0 h 4100100"/>
              <a:gd name="connsiteX1" fmla="*/ 1174199 w 6538312"/>
              <a:gd name="connsiteY1" fmla="*/ 20942 h 4100100"/>
              <a:gd name="connsiteX2" fmla="*/ 6538312 w 6538312"/>
              <a:gd name="connsiteY2" fmla="*/ 3214855 h 4100100"/>
              <a:gd name="connsiteX3" fmla="*/ 4857365 w 6538312"/>
              <a:gd name="connsiteY3" fmla="*/ 4100100 h 4100100"/>
              <a:gd name="connsiteX4" fmla="*/ 0 w 6538312"/>
              <a:gd name="connsiteY4" fmla="*/ 1302711 h 4100100"/>
              <a:gd name="connsiteX5" fmla="*/ 618 w 6538312"/>
              <a:gd name="connsiteY5" fmla="*/ 0 h 4100100"/>
              <a:gd name="connsiteX0" fmla="*/ 618 w 6545456"/>
              <a:gd name="connsiteY0" fmla="*/ 0 h 4100100"/>
              <a:gd name="connsiteX1" fmla="*/ 1174199 w 6545456"/>
              <a:gd name="connsiteY1" fmla="*/ 20942 h 4100100"/>
              <a:gd name="connsiteX2" fmla="*/ 6545456 w 6545456"/>
              <a:gd name="connsiteY2" fmla="*/ 3212473 h 4100100"/>
              <a:gd name="connsiteX3" fmla="*/ 4857365 w 6545456"/>
              <a:gd name="connsiteY3" fmla="*/ 4100100 h 4100100"/>
              <a:gd name="connsiteX4" fmla="*/ 0 w 6545456"/>
              <a:gd name="connsiteY4" fmla="*/ 1302711 h 4100100"/>
              <a:gd name="connsiteX5" fmla="*/ 618 w 6545456"/>
              <a:gd name="connsiteY5" fmla="*/ 0 h 4100100"/>
              <a:gd name="connsiteX0" fmla="*/ 618 w 6547837"/>
              <a:gd name="connsiteY0" fmla="*/ 0 h 4100100"/>
              <a:gd name="connsiteX1" fmla="*/ 1174199 w 6547837"/>
              <a:gd name="connsiteY1" fmla="*/ 20942 h 4100100"/>
              <a:gd name="connsiteX2" fmla="*/ 6547837 w 6547837"/>
              <a:gd name="connsiteY2" fmla="*/ 3214855 h 4100100"/>
              <a:gd name="connsiteX3" fmla="*/ 4857365 w 6547837"/>
              <a:gd name="connsiteY3" fmla="*/ 4100100 h 4100100"/>
              <a:gd name="connsiteX4" fmla="*/ 0 w 6547837"/>
              <a:gd name="connsiteY4" fmla="*/ 1302711 h 4100100"/>
              <a:gd name="connsiteX5" fmla="*/ 618 w 6547837"/>
              <a:gd name="connsiteY5" fmla="*/ 0 h 41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7837" h="4100100">
                <a:moveTo>
                  <a:pt x="618" y="0"/>
                </a:moveTo>
                <a:lnTo>
                  <a:pt x="1174199" y="20942"/>
                </a:lnTo>
                <a:lnTo>
                  <a:pt x="6547837" y="3214855"/>
                </a:lnTo>
                <a:lnTo>
                  <a:pt x="4857365" y="4100100"/>
                </a:lnTo>
                <a:lnTo>
                  <a:pt x="0" y="1302711"/>
                </a:lnTo>
                <a:lnTo>
                  <a:pt x="618" y="0"/>
                </a:lnTo>
                <a:close/>
              </a:path>
            </a:pathLst>
          </a:custGeom>
          <a:solidFill>
            <a:srgbClr val="003E7C">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6285" y="3657528"/>
            <a:ext cx="3097419" cy="708405"/>
          </a:xfrm>
          <a:prstGeom prst="rect">
            <a:avLst/>
          </a:prstGeom>
        </p:spPr>
      </p:pic>
      <p:sp>
        <p:nvSpPr>
          <p:cNvPr id="26" name="Rectangle 25"/>
          <p:cNvSpPr/>
          <p:nvPr/>
        </p:nvSpPr>
        <p:spPr>
          <a:xfrm>
            <a:off x="4626861" y="5156029"/>
            <a:ext cx="45719" cy="1088528"/>
          </a:xfrm>
          <a:prstGeom prst="rect">
            <a:avLst/>
          </a:prstGeom>
          <a:solidFill>
            <a:srgbClr val="FF6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6AC572D-0AD4-90A5-AD0E-66C09FC47EBC}"/>
              </a:ext>
            </a:extLst>
          </p:cNvPr>
          <p:cNvSpPr txBox="1"/>
          <p:nvPr/>
        </p:nvSpPr>
        <p:spPr>
          <a:xfrm>
            <a:off x="4831506" y="5164189"/>
            <a:ext cx="5374651"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1F245C"/>
                </a:solidFill>
                <a:latin typeface="Avenir Next Medium" panose="020B0503020202020204" pitchFamily="34" charset="0"/>
                <a:ea typeface="+mn-lt"/>
                <a:cs typeface="+mn-lt"/>
              </a:rPr>
              <a:t>Innovation Centre</a:t>
            </a:r>
          </a:p>
          <a:p>
            <a:endParaRPr lang="en-US" sz="2000" dirty="0">
              <a:solidFill>
                <a:srgbClr val="1F245C"/>
              </a:solidFill>
              <a:latin typeface="Avenir Next" panose="020B0503020202020204" pitchFamily="34" charset="0"/>
              <a:ea typeface="+mn-lt"/>
              <a:cs typeface="+mn-lt"/>
            </a:endParaRPr>
          </a:p>
          <a:p>
            <a:r>
              <a:rPr lang="en-US" dirty="0">
                <a:solidFill>
                  <a:srgbClr val="1F245C"/>
                </a:solidFill>
                <a:latin typeface="Avenir Next Medium" panose="020B0503020202020204" pitchFamily="34" charset="0"/>
                <a:ea typeface="+mn-lt"/>
                <a:cs typeface="+mn-lt"/>
              </a:rPr>
              <a:t>Delivering smarter IT solutions for your business</a:t>
            </a:r>
          </a:p>
        </p:txBody>
      </p:sp>
    </p:spTree>
    <p:extLst>
      <p:ext uri="{BB962C8B-B14F-4D97-AF65-F5344CB8AC3E}">
        <p14:creationId xmlns:p14="http://schemas.microsoft.com/office/powerpoint/2010/main" val="37526935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41E84-E950-65C8-9CDC-338340B959EA}"/>
              </a:ext>
            </a:extLst>
          </p:cNvPr>
          <p:cNvSpPr>
            <a:spLocks noGrp="1"/>
          </p:cNvSpPr>
          <p:nvPr>
            <p:ph type="title"/>
          </p:nvPr>
        </p:nvSpPr>
        <p:spPr>
          <a:xfrm>
            <a:off x="239082" y="348362"/>
            <a:ext cx="2026136" cy="347829"/>
          </a:xfrm>
        </p:spPr>
        <p:txBody>
          <a:bodyPr/>
          <a:lstStyle/>
          <a:p>
            <a:pPr algn="l"/>
            <a:r>
              <a:rPr lang="en-IN" sz="1800" dirty="0">
                <a:solidFill>
                  <a:srgbClr val="1F245C"/>
                </a:solidFill>
                <a:latin typeface="Avenir Next Medium" panose="020B0503020202020204" pitchFamily="34" charset="0"/>
                <a:cs typeface="Calibri" panose="020F0502020204030204" pitchFamily="34" charset="0"/>
              </a:rPr>
              <a:t>Models Result</a:t>
            </a:r>
          </a:p>
        </p:txBody>
      </p:sp>
      <p:sp>
        <p:nvSpPr>
          <p:cNvPr id="4" name="TextBox 3">
            <a:extLst>
              <a:ext uri="{FF2B5EF4-FFF2-40B4-BE49-F238E27FC236}">
                <a16:creationId xmlns:a16="http://schemas.microsoft.com/office/drawing/2014/main" id="{56DAEE35-9E5C-6A65-0FB8-0676E0DD2A05}"/>
              </a:ext>
            </a:extLst>
          </p:cNvPr>
          <p:cNvSpPr txBox="1"/>
          <p:nvPr/>
        </p:nvSpPr>
        <p:spPr>
          <a:xfrm>
            <a:off x="239081" y="1034162"/>
            <a:ext cx="9975273" cy="721864"/>
          </a:xfrm>
          <a:prstGeom prst="rect">
            <a:avLst/>
          </a:prstGeom>
          <a:noFill/>
        </p:spPr>
        <p:txBody>
          <a:bodyPr wrap="square">
            <a:spAutoFit/>
          </a:bodyPr>
          <a:lstStyle/>
          <a:p>
            <a:pPr lvl="0">
              <a:lnSpc>
                <a:spcPct val="107000"/>
              </a:lnSpc>
              <a:spcAft>
                <a:spcPts val="800"/>
              </a:spcAft>
              <a:buSzPts val="1000"/>
              <a:tabLst>
                <a:tab pos="457200" algn="l"/>
              </a:tabLst>
            </a:pPr>
            <a:r>
              <a:rPr lang="en-IN" sz="1600" dirty="0">
                <a:solidFill>
                  <a:schemeClr val="accent2"/>
                </a:solidFill>
                <a:effectLst/>
                <a:latin typeface="Avenir Next" panose="020B0503020202020204" pitchFamily="34" charset="0"/>
                <a:ea typeface="Times New Roman" panose="02020603050405020304" pitchFamily="18" charset="0"/>
                <a:cs typeface="Times New Roman" panose="02020603050405020304" pitchFamily="18" charset="0"/>
              </a:rPr>
              <a:t>Built set of </a:t>
            </a:r>
            <a:r>
              <a:rPr lang="en-IN" sz="1600" dirty="0">
                <a:solidFill>
                  <a:schemeClr val="accent2"/>
                </a:solidFill>
                <a:latin typeface="Avenir Next" panose="020B0503020202020204" pitchFamily="34" charset="0"/>
                <a:ea typeface="Times New Roman" panose="02020603050405020304" pitchFamily="18" charset="0"/>
                <a:cs typeface="Times New Roman" panose="02020603050405020304" pitchFamily="18" charset="0"/>
              </a:rPr>
              <a:t>4 </a:t>
            </a:r>
            <a:r>
              <a:rPr lang="en-IN" sz="1600" dirty="0">
                <a:solidFill>
                  <a:schemeClr val="accent2"/>
                </a:solidFill>
                <a:effectLst/>
                <a:latin typeface="Avenir Next" panose="020B0503020202020204" pitchFamily="34" charset="0"/>
                <a:ea typeface="Times New Roman" panose="02020603050405020304" pitchFamily="18" charset="0"/>
                <a:cs typeface="Times New Roman" panose="02020603050405020304" pitchFamily="18" charset="0"/>
              </a:rPr>
              <a:t>classification models with 5-fold cross validation and fitted on train data. </a:t>
            </a:r>
            <a:endParaRPr lang="en-IN" sz="1600" dirty="0">
              <a:solidFill>
                <a:schemeClr val="accent2"/>
              </a:solidFill>
              <a:effectLst/>
              <a:latin typeface="Avenir Next" panose="020B0503020202020204" pitchFamily="34" charset="0"/>
              <a:ea typeface="Calibri" panose="020F0502020204030204" pitchFamily="34" charset="0"/>
              <a:cs typeface="Times New Roman" panose="02020603050405020304" pitchFamily="18" charset="0"/>
            </a:endParaRPr>
          </a:p>
          <a:p>
            <a:pPr lvl="0">
              <a:lnSpc>
                <a:spcPct val="107000"/>
              </a:lnSpc>
              <a:spcAft>
                <a:spcPts val="800"/>
              </a:spcAft>
              <a:buSzPts val="1000"/>
              <a:tabLst>
                <a:tab pos="457200" algn="l"/>
              </a:tabLst>
            </a:pPr>
            <a:r>
              <a:rPr lang="en-IN" sz="1600" dirty="0">
                <a:solidFill>
                  <a:schemeClr val="accent2"/>
                </a:solidFill>
                <a:effectLst/>
                <a:latin typeface="Avenir Next" panose="020B0503020202020204" pitchFamily="34" charset="0"/>
                <a:ea typeface="Times New Roman" panose="02020603050405020304" pitchFamily="18" charset="0"/>
                <a:cs typeface="Times New Roman" panose="02020603050405020304" pitchFamily="18" charset="0"/>
              </a:rPr>
              <a:t>Finalised the </a:t>
            </a:r>
            <a:r>
              <a:rPr lang="en-IN" sz="1600" dirty="0" err="1">
                <a:solidFill>
                  <a:schemeClr val="accent2"/>
                </a:solidFill>
                <a:effectLst/>
                <a:latin typeface="Avenir Next" panose="020B0503020202020204" pitchFamily="34" charset="0"/>
                <a:ea typeface="Times New Roman" panose="02020603050405020304" pitchFamily="18" charset="0"/>
                <a:cs typeface="Times New Roman" panose="02020603050405020304" pitchFamily="18" charset="0"/>
              </a:rPr>
              <a:t>LinearSVC</a:t>
            </a:r>
            <a:r>
              <a:rPr lang="en-IN" sz="1600" dirty="0">
                <a:solidFill>
                  <a:schemeClr val="accent2"/>
                </a:solidFill>
                <a:effectLst/>
                <a:latin typeface="Avenir Next" panose="020B0503020202020204" pitchFamily="34" charset="0"/>
                <a:ea typeface="Times New Roman" panose="02020603050405020304" pitchFamily="18" charset="0"/>
                <a:cs typeface="Times New Roman" panose="02020603050405020304" pitchFamily="18" charset="0"/>
              </a:rPr>
              <a:t>  model with 98% accuracy and saved the model using pickle.</a:t>
            </a:r>
            <a:endParaRPr lang="en-IN" sz="1600" dirty="0">
              <a:solidFill>
                <a:schemeClr val="accent2"/>
              </a:solidFill>
              <a:effectLst/>
              <a:latin typeface="Avenir Next" panose="020B0503020202020204" pitchFamily="34" charset="0"/>
              <a:ea typeface="Calibri" panose="020F0502020204030204" pitchFamily="34" charset="0"/>
              <a:cs typeface="Times New Roman" panose="02020603050405020304" pitchFamily="18" charset="0"/>
            </a:endParaRPr>
          </a:p>
        </p:txBody>
      </p:sp>
      <p:pic>
        <p:nvPicPr>
          <p:cNvPr id="8194" name="Picture 2" descr="image">
            <a:extLst>
              <a:ext uri="{FF2B5EF4-FFF2-40B4-BE49-F238E27FC236}">
                <a16:creationId xmlns:a16="http://schemas.microsoft.com/office/drawing/2014/main" id="{E8C8EFCF-DD79-53A4-11AB-9073F3C4151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125"/>
          <a:stretch/>
        </p:blipFill>
        <p:spPr bwMode="auto">
          <a:xfrm>
            <a:off x="287483" y="2492994"/>
            <a:ext cx="5915275" cy="2887003"/>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Building a street name classifier with scikit-learn - Michelle Fullwood">
            <a:extLst>
              <a:ext uri="{FF2B5EF4-FFF2-40B4-BE49-F238E27FC236}">
                <a16:creationId xmlns:a16="http://schemas.microsoft.com/office/drawing/2014/main" id="{E376F783-7A93-EBED-583D-95FFD59033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5325" y="2715510"/>
            <a:ext cx="3011821" cy="2004230"/>
          </a:xfrm>
          <a:prstGeom prst="rect">
            <a:avLst/>
          </a:prstGeom>
          <a:noFill/>
          <a:extLst>
            <a:ext uri="{909E8E84-426E-40DD-AFC4-6F175D3DCCD1}">
              <a14:hiddenFill xmlns:a14="http://schemas.microsoft.com/office/drawing/2010/main">
                <a:solidFill>
                  <a:srgbClr val="FFFFFF"/>
                </a:solidFill>
              </a14:hiddenFill>
            </a:ext>
          </a:extLst>
        </p:spPr>
      </p:pic>
      <p:sp>
        <p:nvSpPr>
          <p:cNvPr id="5" name="Arrow: Right 4">
            <a:extLst>
              <a:ext uri="{FF2B5EF4-FFF2-40B4-BE49-F238E27FC236}">
                <a16:creationId xmlns:a16="http://schemas.microsoft.com/office/drawing/2014/main" id="{CE73284D-D6BC-6A29-245B-C63CE4CC0429}"/>
              </a:ext>
            </a:extLst>
          </p:cNvPr>
          <p:cNvSpPr/>
          <p:nvPr/>
        </p:nvSpPr>
        <p:spPr>
          <a:xfrm>
            <a:off x="6664037" y="3736306"/>
            <a:ext cx="803563" cy="459155"/>
          </a:xfrm>
          <a:prstGeom prst="rightArrow">
            <a:avLst/>
          </a:prstGeom>
          <a:solidFill>
            <a:srgbClr val="1F2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38B11304-6BDB-5FAB-94E6-B36FADEE575B}"/>
              </a:ext>
            </a:extLst>
          </p:cNvPr>
          <p:cNvSpPr txBox="1"/>
          <p:nvPr/>
        </p:nvSpPr>
        <p:spPr>
          <a:xfrm>
            <a:off x="7450281" y="4661092"/>
            <a:ext cx="4125192" cy="338554"/>
          </a:xfrm>
          <a:prstGeom prst="rect">
            <a:avLst/>
          </a:prstGeom>
          <a:noFill/>
        </p:spPr>
        <p:txBody>
          <a:bodyPr wrap="square">
            <a:spAutoFit/>
          </a:bodyPr>
          <a:lstStyle/>
          <a:p>
            <a:pPr algn="ctr"/>
            <a:r>
              <a:rPr lang="en-US" sz="1600" cap="none" spc="0" dirty="0">
                <a:ln w="12700">
                  <a:solidFill>
                    <a:schemeClr val="accent3">
                      <a:lumMod val="50000"/>
                    </a:schemeClr>
                  </a:solidFill>
                  <a:prstDash val="solid"/>
                </a:ln>
                <a:solidFill>
                  <a:srgbClr val="003399"/>
                </a:solidFill>
                <a:effectLst>
                  <a:innerShdw blurRad="177800">
                    <a:schemeClr val="accent3">
                      <a:lumMod val="50000"/>
                    </a:schemeClr>
                  </a:innerShdw>
                </a:effectLst>
                <a:latin typeface="Avenir Next" panose="020B0503020202020204" pitchFamily="34" charset="0"/>
              </a:rPr>
              <a:t>Linear Support Vector Classifier</a:t>
            </a:r>
          </a:p>
        </p:txBody>
      </p:sp>
    </p:spTree>
    <p:extLst>
      <p:ext uri="{BB962C8B-B14F-4D97-AF65-F5344CB8AC3E}">
        <p14:creationId xmlns:p14="http://schemas.microsoft.com/office/powerpoint/2010/main" val="1896352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E4321-C8B3-29BC-6AAE-F5072856E4A2}"/>
              </a:ext>
            </a:extLst>
          </p:cNvPr>
          <p:cNvSpPr>
            <a:spLocks noGrp="1"/>
          </p:cNvSpPr>
          <p:nvPr>
            <p:ph type="title"/>
          </p:nvPr>
        </p:nvSpPr>
        <p:spPr>
          <a:xfrm>
            <a:off x="841755" y="1117291"/>
            <a:ext cx="4052363" cy="399783"/>
          </a:xfrm>
        </p:spPr>
        <p:txBody>
          <a:bodyPr/>
          <a:lstStyle/>
          <a:p>
            <a:r>
              <a:rPr lang="en-IN" sz="1800" dirty="0">
                <a:solidFill>
                  <a:srgbClr val="1F245C"/>
                </a:solidFill>
                <a:effectLst/>
                <a:latin typeface="Avenir Next Medium" panose="020B0503020202020204" pitchFamily="34" charset="0"/>
                <a:ea typeface="Times New Roman" panose="02020603050405020304" pitchFamily="18" charset="0"/>
                <a:cs typeface="Calibri" panose="020F0502020204030204" pitchFamily="34" charset="0"/>
              </a:rPr>
              <a:t>Is Environmental Change? </a:t>
            </a:r>
            <a:endParaRPr lang="en-IN" sz="1800" dirty="0">
              <a:solidFill>
                <a:srgbClr val="1F245C"/>
              </a:solidFill>
              <a:latin typeface="Avenir Next Medium" panose="020B050302020202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0C45E1D-C51B-6D1B-A49F-1DD51445702A}"/>
              </a:ext>
            </a:extLst>
          </p:cNvPr>
          <p:cNvSpPr txBox="1"/>
          <p:nvPr/>
        </p:nvSpPr>
        <p:spPr>
          <a:xfrm>
            <a:off x="1095122" y="1630876"/>
            <a:ext cx="9684327" cy="1248803"/>
          </a:xfrm>
          <a:prstGeom prst="rect">
            <a:avLst/>
          </a:prstGeom>
          <a:noFill/>
        </p:spPr>
        <p:txBody>
          <a:bodyPr wrap="square">
            <a:spAutoFit/>
          </a:bodyPr>
          <a:lstStyle/>
          <a:p>
            <a:pPr marL="342900" lvl="0" indent="-342900">
              <a:lnSpc>
                <a:spcPct val="107000"/>
              </a:lnSpc>
              <a:spcAft>
                <a:spcPts val="800"/>
              </a:spcAft>
              <a:buSzPts val="1000"/>
              <a:buFont typeface="Symbol" panose="05050102010706020507" pitchFamily="18" charset="2"/>
              <a:buChar char=""/>
              <a:tabLst>
                <a:tab pos="457200" algn="l"/>
              </a:tabLst>
            </a:pPr>
            <a:r>
              <a:rPr lang="en-IN" sz="1600" dirty="0">
                <a:solidFill>
                  <a:srgbClr val="1F245C"/>
                </a:solidFill>
                <a:effectLst/>
                <a:latin typeface="Avenir Next" panose="020B0503020202020204" pitchFamily="34" charset="0"/>
                <a:ea typeface="Times New Roman" panose="02020603050405020304" pitchFamily="18" charset="0"/>
                <a:cs typeface="Times New Roman" panose="02020603050405020304" pitchFamily="18" charset="0"/>
              </a:rPr>
              <a:t>Collected set of keywords related to environment change and  identified incident tickets by passing set of keywords on description column.</a:t>
            </a:r>
            <a:endParaRPr lang="en-IN" sz="1600" dirty="0">
              <a:solidFill>
                <a:srgbClr val="1F245C"/>
              </a:solidFill>
              <a:effectLst/>
              <a:latin typeface="Avenir Next" panose="020B05030202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IN" sz="1600" dirty="0">
                <a:solidFill>
                  <a:srgbClr val="F16834"/>
                </a:solidFill>
                <a:effectLst/>
                <a:latin typeface="Avenir Next" panose="020B0503020202020204" pitchFamily="34" charset="0"/>
                <a:ea typeface="Times New Roman" panose="02020603050405020304" pitchFamily="18" charset="0"/>
                <a:cs typeface="Times New Roman" panose="02020603050405020304" pitchFamily="18" charset="0"/>
              </a:rPr>
              <a:t>Vectorizing the environmental change tickets by providing vocabulary which consists of Environmental change related keywords.</a:t>
            </a:r>
            <a:endParaRPr lang="en-IN" sz="1600" dirty="0">
              <a:solidFill>
                <a:srgbClr val="F16834"/>
              </a:solidFill>
              <a:effectLst/>
              <a:latin typeface="Avenir Next" panose="020B0503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8673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E193-90E9-1887-F2FA-9E5A696550A5}"/>
              </a:ext>
            </a:extLst>
          </p:cNvPr>
          <p:cNvSpPr>
            <a:spLocks noGrp="1"/>
          </p:cNvSpPr>
          <p:nvPr>
            <p:ph type="title"/>
          </p:nvPr>
        </p:nvSpPr>
        <p:spPr>
          <a:xfrm>
            <a:off x="239082" y="348362"/>
            <a:ext cx="1807927" cy="420565"/>
          </a:xfrm>
        </p:spPr>
        <p:txBody>
          <a:bodyPr/>
          <a:lstStyle/>
          <a:p>
            <a:pPr algn="l"/>
            <a:r>
              <a:rPr lang="en-IN" sz="1800" dirty="0">
                <a:solidFill>
                  <a:srgbClr val="1F245C"/>
                </a:solidFill>
                <a:latin typeface="Avenir Next Medium" panose="020B0503020202020204" pitchFamily="34" charset="0"/>
                <a:cs typeface="Calibri" panose="020F0502020204030204" pitchFamily="34" charset="0"/>
              </a:rPr>
              <a:t>Clustering </a:t>
            </a:r>
          </a:p>
        </p:txBody>
      </p:sp>
      <p:sp>
        <p:nvSpPr>
          <p:cNvPr id="4" name="TextBox 3">
            <a:extLst>
              <a:ext uri="{FF2B5EF4-FFF2-40B4-BE49-F238E27FC236}">
                <a16:creationId xmlns:a16="http://schemas.microsoft.com/office/drawing/2014/main" id="{2FA93118-0616-F301-4247-701FD292FCF4}"/>
              </a:ext>
            </a:extLst>
          </p:cNvPr>
          <p:cNvSpPr txBox="1"/>
          <p:nvPr/>
        </p:nvSpPr>
        <p:spPr>
          <a:xfrm>
            <a:off x="239082" y="911317"/>
            <a:ext cx="9531928" cy="619272"/>
          </a:xfrm>
          <a:prstGeom prst="rect">
            <a:avLst/>
          </a:prstGeom>
          <a:noFill/>
        </p:spPr>
        <p:txBody>
          <a:bodyPr wrap="square">
            <a:spAutoFit/>
          </a:bodyPr>
          <a:lstStyle/>
          <a:p>
            <a:pPr lvl="0">
              <a:lnSpc>
                <a:spcPct val="107000"/>
              </a:lnSpc>
              <a:spcAft>
                <a:spcPts val="800"/>
              </a:spcAft>
              <a:buSzPts val="1000"/>
              <a:tabLst>
                <a:tab pos="457200" algn="l"/>
              </a:tabLst>
            </a:pPr>
            <a:r>
              <a:rPr lang="en-IN" sz="1600" dirty="0">
                <a:solidFill>
                  <a:srgbClr val="F16834"/>
                </a:solidFill>
                <a:effectLst/>
                <a:latin typeface="Avenir Next" panose="020B0503020202020204" pitchFamily="34" charset="0"/>
                <a:ea typeface="Times New Roman" panose="02020603050405020304" pitchFamily="18" charset="0"/>
                <a:cs typeface="Times New Roman" panose="02020603050405020304" pitchFamily="18" charset="0"/>
              </a:rPr>
              <a:t>Grouping the environment change tickets to get its incident types with K-Mean clustering algorithms and chosen number of clusters 4 using Elbow plot. </a:t>
            </a:r>
            <a:endParaRPr lang="en-IN" sz="1400" dirty="0">
              <a:solidFill>
                <a:srgbClr val="F16834"/>
              </a:solidFill>
              <a:effectLst/>
              <a:latin typeface="Avenir Next" panose="020B0503020202020204" pitchFamily="34" charset="0"/>
              <a:ea typeface="Calibri" panose="020F0502020204030204" pitchFamily="34" charset="0"/>
              <a:cs typeface="Times New Roman" panose="02020603050405020304" pitchFamily="18" charset="0"/>
            </a:endParaRPr>
          </a:p>
        </p:txBody>
      </p:sp>
      <p:pic>
        <p:nvPicPr>
          <p:cNvPr id="6146" name="Picture 2">
            <a:extLst>
              <a:ext uri="{FF2B5EF4-FFF2-40B4-BE49-F238E27FC236}">
                <a16:creationId xmlns:a16="http://schemas.microsoft.com/office/drawing/2014/main" id="{C8BBFB79-CFF4-F30D-4835-1DC8E01B8B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563" y="2080779"/>
            <a:ext cx="4033583" cy="317897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5472C9FB-7C79-5F43-CFB8-74957FA4FD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5799" y="1867443"/>
            <a:ext cx="6672642" cy="3605645"/>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56F51F9D-537C-E899-7588-4CF1387C2CD9}"/>
              </a:ext>
            </a:extLst>
          </p:cNvPr>
          <p:cNvSpPr/>
          <p:nvPr/>
        </p:nvSpPr>
        <p:spPr>
          <a:xfrm>
            <a:off x="5140036" y="5835165"/>
            <a:ext cx="180109" cy="16513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4D6F10DB-EAEC-66FF-0704-0E163971CBD3}"/>
              </a:ext>
            </a:extLst>
          </p:cNvPr>
          <p:cNvSpPr/>
          <p:nvPr/>
        </p:nvSpPr>
        <p:spPr>
          <a:xfrm>
            <a:off x="5140035" y="6307487"/>
            <a:ext cx="180109" cy="165138"/>
          </a:xfrm>
          <a:prstGeom prst="ellipse">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Oval 6">
            <a:extLst>
              <a:ext uri="{FF2B5EF4-FFF2-40B4-BE49-F238E27FC236}">
                <a16:creationId xmlns:a16="http://schemas.microsoft.com/office/drawing/2014/main" id="{58C67C68-5F04-A978-F860-9C6C78EADE4B}"/>
              </a:ext>
            </a:extLst>
          </p:cNvPr>
          <p:cNvSpPr/>
          <p:nvPr/>
        </p:nvSpPr>
        <p:spPr>
          <a:xfrm>
            <a:off x="8080892" y="5867463"/>
            <a:ext cx="180109" cy="165138"/>
          </a:xfrm>
          <a:prstGeom prst="ellipse">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8B06EAB6-16A0-CEC3-EDF1-C85CE8CA4DC1}"/>
              </a:ext>
            </a:extLst>
          </p:cNvPr>
          <p:cNvSpPr/>
          <p:nvPr/>
        </p:nvSpPr>
        <p:spPr>
          <a:xfrm>
            <a:off x="8080892" y="6307658"/>
            <a:ext cx="180109" cy="165138"/>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7BAC40E6-41CE-9099-5326-B84DC8317310}"/>
              </a:ext>
            </a:extLst>
          </p:cNvPr>
          <p:cNvSpPr txBox="1"/>
          <p:nvPr/>
        </p:nvSpPr>
        <p:spPr>
          <a:xfrm>
            <a:off x="5299362" y="5774632"/>
            <a:ext cx="2090057" cy="338554"/>
          </a:xfrm>
          <a:prstGeom prst="rect">
            <a:avLst/>
          </a:prstGeom>
          <a:noFill/>
        </p:spPr>
        <p:txBody>
          <a:bodyPr wrap="square" rtlCol="0">
            <a:spAutoFit/>
          </a:bodyPr>
          <a:lstStyle/>
          <a:p>
            <a:r>
              <a:rPr lang="en-IN" sz="1600" dirty="0">
                <a:latin typeface="Avenir Next" panose="020B0503020202020204" pitchFamily="34" charset="0"/>
              </a:rPr>
              <a:t>Capacity Incident</a:t>
            </a:r>
          </a:p>
        </p:txBody>
      </p:sp>
      <p:sp>
        <p:nvSpPr>
          <p:cNvPr id="11" name="TextBox 10">
            <a:extLst>
              <a:ext uri="{FF2B5EF4-FFF2-40B4-BE49-F238E27FC236}">
                <a16:creationId xmlns:a16="http://schemas.microsoft.com/office/drawing/2014/main" id="{CC3551E0-1531-3042-23C2-D340D2815D3D}"/>
              </a:ext>
            </a:extLst>
          </p:cNvPr>
          <p:cNvSpPr txBox="1"/>
          <p:nvPr/>
        </p:nvSpPr>
        <p:spPr>
          <a:xfrm>
            <a:off x="5299361" y="6246061"/>
            <a:ext cx="2090057" cy="338554"/>
          </a:xfrm>
          <a:prstGeom prst="rect">
            <a:avLst/>
          </a:prstGeom>
          <a:noFill/>
        </p:spPr>
        <p:txBody>
          <a:bodyPr wrap="square" rtlCol="0">
            <a:spAutoFit/>
          </a:bodyPr>
          <a:lstStyle/>
          <a:p>
            <a:r>
              <a:rPr lang="en-IN" sz="1600" dirty="0">
                <a:latin typeface="Avenir Next" panose="020B0503020202020204" pitchFamily="34" charset="0"/>
              </a:rPr>
              <a:t>DBA Incident</a:t>
            </a:r>
          </a:p>
        </p:txBody>
      </p:sp>
      <p:sp>
        <p:nvSpPr>
          <p:cNvPr id="12" name="TextBox 11">
            <a:extLst>
              <a:ext uri="{FF2B5EF4-FFF2-40B4-BE49-F238E27FC236}">
                <a16:creationId xmlns:a16="http://schemas.microsoft.com/office/drawing/2014/main" id="{2115587C-E41C-F645-76C0-9730B8BD1289}"/>
              </a:ext>
            </a:extLst>
          </p:cNvPr>
          <p:cNvSpPr txBox="1"/>
          <p:nvPr/>
        </p:nvSpPr>
        <p:spPr>
          <a:xfrm>
            <a:off x="8233421" y="5786148"/>
            <a:ext cx="2090057" cy="338554"/>
          </a:xfrm>
          <a:prstGeom prst="rect">
            <a:avLst/>
          </a:prstGeom>
          <a:noFill/>
        </p:spPr>
        <p:txBody>
          <a:bodyPr wrap="square" rtlCol="0">
            <a:spAutoFit/>
          </a:bodyPr>
          <a:lstStyle/>
          <a:p>
            <a:r>
              <a:rPr lang="en-IN" sz="1600" dirty="0">
                <a:latin typeface="Avenir Next" panose="020B0503020202020204" pitchFamily="34" charset="0"/>
              </a:rPr>
              <a:t>DB Incident</a:t>
            </a:r>
          </a:p>
        </p:txBody>
      </p:sp>
      <p:sp>
        <p:nvSpPr>
          <p:cNvPr id="13" name="TextBox 12">
            <a:extLst>
              <a:ext uri="{FF2B5EF4-FFF2-40B4-BE49-F238E27FC236}">
                <a16:creationId xmlns:a16="http://schemas.microsoft.com/office/drawing/2014/main" id="{2135ABEF-3AA6-CD75-5A22-8E8FB7F51938}"/>
              </a:ext>
            </a:extLst>
          </p:cNvPr>
          <p:cNvSpPr txBox="1"/>
          <p:nvPr/>
        </p:nvSpPr>
        <p:spPr>
          <a:xfrm>
            <a:off x="8233421" y="6245871"/>
            <a:ext cx="2779485" cy="338554"/>
          </a:xfrm>
          <a:prstGeom prst="rect">
            <a:avLst/>
          </a:prstGeom>
          <a:noFill/>
        </p:spPr>
        <p:txBody>
          <a:bodyPr wrap="square" rtlCol="0">
            <a:spAutoFit/>
          </a:bodyPr>
          <a:lstStyle/>
          <a:p>
            <a:r>
              <a:rPr lang="en-IN" sz="1600" dirty="0">
                <a:latin typeface="Avenir Next" panose="020B0503020202020204" pitchFamily="34" charset="0"/>
              </a:rPr>
              <a:t>SQL Maintenance Incident</a:t>
            </a:r>
          </a:p>
        </p:txBody>
      </p:sp>
    </p:spTree>
    <p:extLst>
      <p:ext uri="{BB962C8B-B14F-4D97-AF65-F5344CB8AC3E}">
        <p14:creationId xmlns:p14="http://schemas.microsoft.com/office/powerpoint/2010/main" val="22312583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41E84-E950-65C8-9CDC-338340B959EA}"/>
              </a:ext>
            </a:extLst>
          </p:cNvPr>
          <p:cNvSpPr>
            <a:spLocks noGrp="1"/>
          </p:cNvSpPr>
          <p:nvPr>
            <p:ph type="title"/>
          </p:nvPr>
        </p:nvSpPr>
        <p:spPr>
          <a:xfrm>
            <a:off x="387928" y="379020"/>
            <a:ext cx="2157845" cy="337953"/>
          </a:xfrm>
        </p:spPr>
        <p:txBody>
          <a:bodyPr/>
          <a:lstStyle/>
          <a:p>
            <a:pPr algn="l"/>
            <a:r>
              <a:rPr lang="en-IN" sz="1800" dirty="0">
                <a:solidFill>
                  <a:srgbClr val="1F245C"/>
                </a:solidFill>
                <a:latin typeface="Avenir Next Medium" panose="020B0503020202020204" pitchFamily="34" charset="0"/>
                <a:cs typeface="Calibri" panose="020F0502020204030204" pitchFamily="34" charset="0"/>
              </a:rPr>
              <a:t>Models Result</a:t>
            </a:r>
            <a:br>
              <a:rPr lang="en-IN" sz="1800" dirty="0">
                <a:solidFill>
                  <a:srgbClr val="1F245C"/>
                </a:solidFill>
                <a:latin typeface="Avenir Next Medium" panose="020B0503020202020204" pitchFamily="34" charset="0"/>
                <a:cs typeface="Calibri" panose="020F0502020204030204" pitchFamily="34" charset="0"/>
              </a:rPr>
            </a:br>
            <a:endParaRPr lang="en-IN" sz="1800" dirty="0">
              <a:solidFill>
                <a:srgbClr val="1F245C"/>
              </a:solidFill>
              <a:latin typeface="Avenir Next Medium" panose="020B050302020202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4E63A0E9-EB75-5636-FDAB-C1205B2077D1}"/>
              </a:ext>
            </a:extLst>
          </p:cNvPr>
          <p:cNvSpPr txBox="1"/>
          <p:nvPr/>
        </p:nvSpPr>
        <p:spPr>
          <a:xfrm>
            <a:off x="387928" y="898938"/>
            <a:ext cx="9531927" cy="721864"/>
          </a:xfrm>
          <a:prstGeom prst="rect">
            <a:avLst/>
          </a:prstGeom>
          <a:noFill/>
        </p:spPr>
        <p:txBody>
          <a:bodyPr wrap="square">
            <a:spAutoFit/>
          </a:bodyPr>
          <a:lstStyle/>
          <a:p>
            <a:pPr lvl="0">
              <a:lnSpc>
                <a:spcPct val="107000"/>
              </a:lnSpc>
              <a:spcAft>
                <a:spcPts val="800"/>
              </a:spcAft>
              <a:buSzPts val="1000"/>
              <a:tabLst>
                <a:tab pos="457200" algn="l"/>
              </a:tabLst>
            </a:pPr>
            <a:r>
              <a:rPr lang="en-IN" sz="1600" dirty="0">
                <a:solidFill>
                  <a:srgbClr val="F16834"/>
                </a:solidFill>
                <a:effectLst/>
                <a:latin typeface="Avenir Next" panose="020B0503020202020204" pitchFamily="34" charset="0"/>
                <a:ea typeface="Times New Roman" panose="02020603050405020304" pitchFamily="18" charset="0"/>
                <a:cs typeface="Times New Roman" panose="02020603050405020304" pitchFamily="18" charset="0"/>
              </a:rPr>
              <a:t>Built set of 5</a:t>
            </a:r>
            <a:r>
              <a:rPr lang="en-IN" sz="1600" dirty="0">
                <a:solidFill>
                  <a:srgbClr val="F16834"/>
                </a:solidFill>
                <a:latin typeface="Avenir Next" panose="020B0503020202020204" pitchFamily="34" charset="0"/>
                <a:ea typeface="Times New Roman" panose="02020603050405020304" pitchFamily="18" charset="0"/>
                <a:cs typeface="Times New Roman" panose="02020603050405020304" pitchFamily="18" charset="0"/>
              </a:rPr>
              <a:t> </a:t>
            </a:r>
            <a:r>
              <a:rPr lang="en-IN" sz="1600" dirty="0">
                <a:solidFill>
                  <a:srgbClr val="F16834"/>
                </a:solidFill>
                <a:effectLst/>
                <a:latin typeface="Avenir Next" panose="020B0503020202020204" pitchFamily="34" charset="0"/>
                <a:ea typeface="Times New Roman" panose="02020603050405020304" pitchFamily="18" charset="0"/>
                <a:cs typeface="Times New Roman" panose="02020603050405020304" pitchFamily="18" charset="0"/>
              </a:rPr>
              <a:t>classification models with 5-fold cross validation and fitted on train data.</a:t>
            </a:r>
            <a:endParaRPr lang="en-IN" sz="1600" dirty="0">
              <a:solidFill>
                <a:srgbClr val="F16834"/>
              </a:solidFill>
              <a:latin typeface="Avenir Next" panose="020B0503020202020204" pitchFamily="34" charset="0"/>
              <a:ea typeface="Times New Roman" panose="02020603050405020304" pitchFamily="18" charset="0"/>
              <a:cs typeface="Times New Roman" panose="02020603050405020304" pitchFamily="18" charset="0"/>
            </a:endParaRPr>
          </a:p>
          <a:p>
            <a:pPr lvl="0">
              <a:lnSpc>
                <a:spcPct val="107000"/>
              </a:lnSpc>
              <a:spcAft>
                <a:spcPts val="800"/>
              </a:spcAft>
              <a:buSzPts val="1000"/>
              <a:tabLst>
                <a:tab pos="457200" algn="l"/>
              </a:tabLst>
            </a:pPr>
            <a:r>
              <a:rPr lang="en-IN" sz="1600" dirty="0">
                <a:solidFill>
                  <a:srgbClr val="F16834"/>
                </a:solidFill>
                <a:effectLst/>
                <a:latin typeface="Avenir Next" panose="020B0503020202020204" pitchFamily="34" charset="0"/>
                <a:ea typeface="Times New Roman" panose="02020603050405020304" pitchFamily="18" charset="0"/>
              </a:rPr>
              <a:t>Finalized the </a:t>
            </a:r>
            <a:r>
              <a:rPr lang="en-IN" sz="1600" dirty="0" err="1">
                <a:solidFill>
                  <a:srgbClr val="F16834"/>
                </a:solidFill>
                <a:effectLst/>
                <a:latin typeface="Avenir Next" panose="020B0503020202020204" pitchFamily="34" charset="0"/>
                <a:ea typeface="Times New Roman" panose="02020603050405020304" pitchFamily="18" charset="0"/>
              </a:rPr>
              <a:t>DecisionTreeClassifier</a:t>
            </a:r>
            <a:r>
              <a:rPr lang="en-IN" sz="1600" dirty="0">
                <a:solidFill>
                  <a:srgbClr val="F16834"/>
                </a:solidFill>
                <a:effectLst/>
                <a:latin typeface="Avenir Next" panose="020B0503020202020204" pitchFamily="34" charset="0"/>
                <a:ea typeface="Times New Roman" panose="02020603050405020304" pitchFamily="18" charset="0"/>
              </a:rPr>
              <a:t> model with 99% accuracy and saved the model using pickle</a:t>
            </a:r>
            <a:endParaRPr lang="en-IN" sz="1600" dirty="0">
              <a:solidFill>
                <a:srgbClr val="F16834"/>
              </a:solidFill>
              <a:latin typeface="Avenir Next" panose="020B0503020202020204" pitchFamily="34" charset="0"/>
            </a:endParaRPr>
          </a:p>
        </p:txBody>
      </p:sp>
      <p:pic>
        <p:nvPicPr>
          <p:cNvPr id="6" name="Picture 5">
            <a:extLst>
              <a:ext uri="{FF2B5EF4-FFF2-40B4-BE49-F238E27FC236}">
                <a16:creationId xmlns:a16="http://schemas.microsoft.com/office/drawing/2014/main" id="{55CF82A6-F323-36C4-B04A-5244C6F52F44}"/>
              </a:ext>
            </a:extLst>
          </p:cNvPr>
          <p:cNvPicPr>
            <a:picLocks noChangeAspect="1"/>
          </p:cNvPicPr>
          <p:nvPr/>
        </p:nvPicPr>
        <p:blipFill>
          <a:blip r:embed="rId3"/>
          <a:stretch>
            <a:fillRect/>
          </a:stretch>
        </p:blipFill>
        <p:spPr>
          <a:xfrm>
            <a:off x="628556" y="2801728"/>
            <a:ext cx="5702971" cy="2899770"/>
          </a:xfrm>
          <a:prstGeom prst="rect">
            <a:avLst/>
          </a:prstGeom>
        </p:spPr>
      </p:pic>
      <p:sp>
        <p:nvSpPr>
          <p:cNvPr id="7" name="Arrow: Right 6">
            <a:extLst>
              <a:ext uri="{FF2B5EF4-FFF2-40B4-BE49-F238E27FC236}">
                <a16:creationId xmlns:a16="http://schemas.microsoft.com/office/drawing/2014/main" id="{4ED2E70C-1AFC-CE59-FC8A-93975D53BF63}"/>
              </a:ext>
            </a:extLst>
          </p:cNvPr>
          <p:cNvSpPr/>
          <p:nvPr/>
        </p:nvSpPr>
        <p:spPr>
          <a:xfrm>
            <a:off x="6392788" y="4254823"/>
            <a:ext cx="878680" cy="459155"/>
          </a:xfrm>
          <a:prstGeom prst="rightArrow">
            <a:avLst/>
          </a:prstGeom>
          <a:solidFill>
            <a:srgbClr val="1F2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07E8A088-2862-ECCB-5657-E6F7C3931F97}"/>
              </a:ext>
            </a:extLst>
          </p:cNvPr>
          <p:cNvSpPr/>
          <p:nvPr/>
        </p:nvSpPr>
        <p:spPr>
          <a:xfrm>
            <a:off x="6422665" y="4713978"/>
            <a:ext cx="5449124" cy="523220"/>
          </a:xfrm>
          <a:prstGeom prst="rect">
            <a:avLst/>
          </a:prstGeom>
          <a:noFill/>
        </p:spPr>
        <p:txBody>
          <a:bodyPr wrap="square" lIns="91440" tIns="45720" rIns="91440" bIns="45720">
            <a:spAutoFit/>
          </a:bodyPr>
          <a:lstStyle/>
          <a:p>
            <a:pPr algn="ctr"/>
            <a:r>
              <a:rPr lang="en-US" sz="2800" b="1" cap="none" spc="0" dirty="0">
                <a:ln w="12700">
                  <a:solidFill>
                    <a:schemeClr val="accent3">
                      <a:lumMod val="50000"/>
                    </a:schemeClr>
                  </a:solidFill>
                  <a:prstDash val="solid"/>
                </a:ln>
                <a:solidFill>
                  <a:srgbClr val="003399"/>
                </a:solidFill>
                <a:effectLst>
                  <a:innerShdw blurRad="177800">
                    <a:schemeClr val="accent3">
                      <a:lumMod val="50000"/>
                    </a:schemeClr>
                  </a:innerShdw>
                </a:effectLst>
              </a:rPr>
              <a:t>Decision Tree Classifier</a:t>
            </a:r>
          </a:p>
        </p:txBody>
      </p:sp>
      <p:pic>
        <p:nvPicPr>
          <p:cNvPr id="4100" name="Picture 4" descr="Implementing Decision Tree Using Python">
            <a:extLst>
              <a:ext uri="{FF2B5EF4-FFF2-40B4-BE49-F238E27FC236}">
                <a16:creationId xmlns:a16="http://schemas.microsoft.com/office/drawing/2014/main" id="{241FEB84-4A44-BDD2-A9EB-E1126ABB33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67600" y="2927947"/>
            <a:ext cx="3359255" cy="1881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262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7E9DB-49A3-60A1-5054-BCE0CFDE629C}"/>
              </a:ext>
            </a:extLst>
          </p:cNvPr>
          <p:cNvSpPr>
            <a:spLocks noGrp="1"/>
          </p:cNvSpPr>
          <p:nvPr>
            <p:ph type="title"/>
          </p:nvPr>
        </p:nvSpPr>
        <p:spPr>
          <a:xfrm>
            <a:off x="4082826" y="1049257"/>
            <a:ext cx="4026345" cy="447033"/>
          </a:xfrm>
        </p:spPr>
        <p:txBody>
          <a:bodyPr>
            <a:normAutofit fontScale="90000"/>
          </a:bodyPr>
          <a:lstStyle/>
          <a:p>
            <a:r>
              <a:rPr lang="en-IN" sz="2800" dirty="0">
                <a:latin typeface="Avenir Next Medium" panose="020B0503020202020204" pitchFamily="34" charset="0"/>
                <a:cs typeface="Calibri" panose="020F0502020204030204" pitchFamily="34" charset="0"/>
              </a:rPr>
              <a:t>Predictions Results </a:t>
            </a:r>
          </a:p>
        </p:txBody>
      </p:sp>
      <p:pic>
        <p:nvPicPr>
          <p:cNvPr id="5" name="Picture 4">
            <a:extLst>
              <a:ext uri="{FF2B5EF4-FFF2-40B4-BE49-F238E27FC236}">
                <a16:creationId xmlns:a16="http://schemas.microsoft.com/office/drawing/2014/main" id="{4C101B0F-0378-904D-1847-DE7E26FBB726}"/>
              </a:ext>
            </a:extLst>
          </p:cNvPr>
          <p:cNvPicPr>
            <a:picLocks noChangeAspect="1"/>
          </p:cNvPicPr>
          <p:nvPr/>
        </p:nvPicPr>
        <p:blipFill>
          <a:blip r:embed="rId3"/>
          <a:stretch>
            <a:fillRect/>
          </a:stretch>
        </p:blipFill>
        <p:spPr>
          <a:xfrm>
            <a:off x="4082827" y="1698930"/>
            <a:ext cx="4026345" cy="3460140"/>
          </a:xfrm>
          <a:prstGeom prst="rect">
            <a:avLst/>
          </a:prstGeom>
        </p:spPr>
      </p:pic>
    </p:spTree>
    <p:extLst>
      <p:ext uri="{BB962C8B-B14F-4D97-AF65-F5344CB8AC3E}">
        <p14:creationId xmlns:p14="http://schemas.microsoft.com/office/powerpoint/2010/main" val="22499972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E193-90E9-1887-F2FA-9E5A696550A5}"/>
              </a:ext>
            </a:extLst>
          </p:cNvPr>
          <p:cNvSpPr>
            <a:spLocks noGrp="1"/>
          </p:cNvSpPr>
          <p:nvPr>
            <p:ph type="title"/>
          </p:nvPr>
        </p:nvSpPr>
        <p:spPr>
          <a:xfrm>
            <a:off x="415637" y="271532"/>
            <a:ext cx="3108798" cy="353990"/>
          </a:xfrm>
        </p:spPr>
        <p:txBody>
          <a:bodyPr/>
          <a:lstStyle/>
          <a:p>
            <a:pPr algn="l"/>
            <a:r>
              <a:rPr lang="en-IN" sz="1800" b="1" dirty="0">
                <a:solidFill>
                  <a:srgbClr val="1F245C"/>
                </a:solidFill>
                <a:latin typeface="Avenir Next Medium" panose="020B0503020202020204" pitchFamily="34" charset="0"/>
                <a:cs typeface="Calibri" panose="020F0502020204030204" pitchFamily="34" charset="0"/>
              </a:rPr>
              <a:t>Development in Progress</a:t>
            </a:r>
          </a:p>
        </p:txBody>
      </p:sp>
      <p:sp>
        <p:nvSpPr>
          <p:cNvPr id="4" name="TextBox 3">
            <a:extLst>
              <a:ext uri="{FF2B5EF4-FFF2-40B4-BE49-F238E27FC236}">
                <a16:creationId xmlns:a16="http://schemas.microsoft.com/office/drawing/2014/main" id="{842C8C9E-E1CE-A5EF-FB94-79D35863C978}"/>
              </a:ext>
            </a:extLst>
          </p:cNvPr>
          <p:cNvSpPr txBox="1"/>
          <p:nvPr/>
        </p:nvSpPr>
        <p:spPr>
          <a:xfrm>
            <a:off x="415637" y="866370"/>
            <a:ext cx="11360728" cy="1076192"/>
          </a:xfrm>
          <a:prstGeom prst="rect">
            <a:avLst/>
          </a:prstGeom>
          <a:noFill/>
        </p:spPr>
        <p:txBody>
          <a:bodyPr wrap="square">
            <a:spAutoFit/>
          </a:bodyPr>
          <a:lstStyle/>
          <a:p>
            <a:pPr marL="285750" lvl="0" indent="-285750">
              <a:lnSpc>
                <a:spcPct val="107000"/>
              </a:lnSpc>
              <a:spcAft>
                <a:spcPts val="800"/>
              </a:spcAft>
              <a:buSzPts val="1000"/>
              <a:buFont typeface="Arial" panose="020B0604020202020204" pitchFamily="34" charset="0"/>
              <a:buChar char="•"/>
              <a:tabLst>
                <a:tab pos="457200" algn="l"/>
              </a:tabLst>
            </a:pPr>
            <a:r>
              <a:rPr lang="en-IN" sz="1600" dirty="0">
                <a:solidFill>
                  <a:srgbClr val="1F245C"/>
                </a:solidFill>
                <a:effectLst/>
                <a:latin typeface="Avenir Next" panose="020B0503020202020204" pitchFamily="34" charset="0"/>
                <a:ea typeface="Times New Roman" panose="02020603050405020304" pitchFamily="18" charset="0"/>
                <a:cs typeface="Times New Roman" panose="02020603050405020304" pitchFamily="18" charset="0"/>
              </a:rPr>
              <a:t>Impact of Environment change</a:t>
            </a:r>
          </a:p>
          <a:p>
            <a:pPr marL="285750" lvl="0" indent="-285750">
              <a:lnSpc>
                <a:spcPct val="107000"/>
              </a:lnSpc>
              <a:spcAft>
                <a:spcPts val="800"/>
              </a:spcAft>
              <a:buSzPts val="1000"/>
              <a:buFont typeface="Arial" panose="020B0604020202020204" pitchFamily="34" charset="0"/>
              <a:buChar char="•"/>
              <a:tabLst>
                <a:tab pos="457200" algn="l"/>
              </a:tabLst>
            </a:pPr>
            <a:r>
              <a:rPr lang="en-IN" sz="1600" dirty="0">
                <a:solidFill>
                  <a:srgbClr val="1F245C"/>
                </a:solidFill>
                <a:latin typeface="Avenir Next" panose="020B0503020202020204" pitchFamily="34" charset="0"/>
                <a:ea typeface="Calibri" panose="020F0502020204030204" pitchFamily="34" charset="0"/>
                <a:cs typeface="Times New Roman" panose="02020603050405020304" pitchFamily="18" charset="0"/>
              </a:rPr>
              <a:t>Predict change request failure</a:t>
            </a:r>
          </a:p>
          <a:p>
            <a:pPr marL="285750" lvl="0" indent="-285750">
              <a:lnSpc>
                <a:spcPct val="107000"/>
              </a:lnSpc>
              <a:spcAft>
                <a:spcPts val="800"/>
              </a:spcAft>
              <a:buSzPts val="1000"/>
              <a:buFont typeface="Arial" panose="020B0604020202020204" pitchFamily="34" charset="0"/>
              <a:buChar char="•"/>
              <a:tabLst>
                <a:tab pos="457200" algn="l"/>
              </a:tabLst>
            </a:pPr>
            <a:r>
              <a:rPr lang="en-IN" sz="1600" dirty="0">
                <a:solidFill>
                  <a:srgbClr val="1F245C"/>
                </a:solidFill>
                <a:latin typeface="Avenir Next" panose="020B0503020202020204" pitchFamily="34" charset="0"/>
                <a:ea typeface="Calibri" panose="020F0502020204030204" pitchFamily="34" charset="0"/>
                <a:cs typeface="Times New Roman" panose="02020603050405020304" pitchFamily="18" charset="0"/>
              </a:rPr>
              <a:t>Predict the resolution time </a:t>
            </a:r>
            <a:endParaRPr lang="en-IN" sz="1400" dirty="0">
              <a:solidFill>
                <a:srgbClr val="1F245C"/>
              </a:solidFill>
              <a:effectLst/>
              <a:latin typeface="Avenir Next" panose="020B0503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922143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4D6AE1FA-CCAA-9BA6-C907-B380EA1700E1}"/>
              </a:ext>
            </a:extLst>
          </p:cNvPr>
          <p:cNvSpPr>
            <a:spLocks noGrp="1"/>
          </p:cNvSpPr>
          <p:nvPr>
            <p:ph type="title"/>
          </p:nvPr>
        </p:nvSpPr>
        <p:spPr>
          <a:xfrm>
            <a:off x="430178" y="384272"/>
            <a:ext cx="5423442" cy="295250"/>
          </a:xfrm>
        </p:spPr>
        <p:txBody>
          <a:bodyPr/>
          <a:lstStyle/>
          <a:p>
            <a:pPr algn="l"/>
            <a:r>
              <a:rPr lang="en-US" sz="1600" dirty="0">
                <a:solidFill>
                  <a:srgbClr val="F16834"/>
                </a:solidFill>
                <a:latin typeface="Avenir Next" panose="020B0503020202020204" pitchFamily="34" charset="0"/>
              </a:rPr>
              <a:t>PREDICTIVE Incident MANAGEMENT</a:t>
            </a:r>
          </a:p>
        </p:txBody>
      </p:sp>
      <p:sp>
        <p:nvSpPr>
          <p:cNvPr id="2" name="TextBox 1">
            <a:extLst>
              <a:ext uri="{FF2B5EF4-FFF2-40B4-BE49-F238E27FC236}">
                <a16:creationId xmlns:a16="http://schemas.microsoft.com/office/drawing/2014/main" id="{D4B34404-6CA6-085D-8635-06B126ED039C}"/>
              </a:ext>
            </a:extLst>
          </p:cNvPr>
          <p:cNvSpPr txBox="1"/>
          <p:nvPr/>
        </p:nvSpPr>
        <p:spPr>
          <a:xfrm>
            <a:off x="693579" y="1279519"/>
            <a:ext cx="8991110" cy="2492990"/>
          </a:xfrm>
          <a:prstGeom prst="rect">
            <a:avLst/>
          </a:prstGeom>
          <a:noFill/>
        </p:spPr>
        <p:txBody>
          <a:bodyPr wrap="square" rtlCol="0">
            <a:spAutoFit/>
          </a:bodyPr>
          <a:lstStyle/>
          <a:p>
            <a:pPr marL="171450" indent="-171450" algn="just">
              <a:buFont typeface="Arial" panose="020B0604020202020204" pitchFamily="34" charset="0"/>
              <a:buChar char="•"/>
            </a:pPr>
            <a:r>
              <a:rPr lang="en-US" sz="1200" b="1" dirty="0"/>
              <a:t>Key Benefits for Customer :</a:t>
            </a:r>
          </a:p>
          <a:p>
            <a:pPr marL="628650" lvl="1" indent="-171450" algn="just">
              <a:buFont typeface="Arial" panose="020B0604020202020204" pitchFamily="34" charset="0"/>
              <a:buChar char="•"/>
            </a:pPr>
            <a:r>
              <a:rPr lang="en-US" sz="1200" dirty="0"/>
              <a:t>Improved Uptime &amp; performance of Applications</a:t>
            </a:r>
          </a:p>
          <a:p>
            <a:pPr marL="628650" lvl="1" indent="-171450" algn="just">
              <a:buFont typeface="Arial" panose="020B0604020202020204" pitchFamily="34" charset="0"/>
              <a:buChar char="•"/>
            </a:pPr>
            <a:r>
              <a:rPr lang="en-US" sz="1200" dirty="0"/>
              <a:t>Increased reliability of services</a:t>
            </a:r>
          </a:p>
          <a:p>
            <a:pPr marL="628650" lvl="1" indent="-171450" algn="just">
              <a:buFont typeface="Arial" panose="020B0604020202020204" pitchFamily="34" charset="0"/>
              <a:buChar char="•"/>
            </a:pPr>
            <a:r>
              <a:rPr lang="en-US" sz="1200" dirty="0"/>
              <a:t>Improved Customer satisfaction and experience</a:t>
            </a:r>
          </a:p>
          <a:p>
            <a:pPr marL="171450" indent="-171450" algn="just">
              <a:buFont typeface="Arial" panose="020B0604020202020204" pitchFamily="34" charset="0"/>
              <a:buChar char="•"/>
            </a:pPr>
            <a:r>
              <a:rPr lang="en-US" sz="1200" b="1" dirty="0"/>
              <a:t>Key Benefits for Business :</a:t>
            </a:r>
          </a:p>
          <a:p>
            <a:pPr marL="628650" lvl="1" indent="-171450" algn="just">
              <a:buFont typeface="Arial" panose="020B0604020202020204" pitchFamily="34" charset="0"/>
              <a:buChar char="•"/>
            </a:pPr>
            <a:r>
              <a:rPr lang="en-US" sz="1200" dirty="0"/>
              <a:t>Saved man-hours on IT operations, resulting in reduced IT operations costs</a:t>
            </a:r>
          </a:p>
          <a:p>
            <a:pPr marL="628650" lvl="1" indent="-171450" algn="just">
              <a:buFont typeface="Arial" panose="020B0604020202020204" pitchFamily="34" charset="0"/>
              <a:buChar char="•"/>
            </a:pPr>
            <a:r>
              <a:rPr lang="en-US" sz="1200" dirty="0"/>
              <a:t>An increase in the efficiency and productivity of IT personnel</a:t>
            </a:r>
          </a:p>
          <a:p>
            <a:pPr marL="628650" lvl="1" indent="-171450" algn="just">
              <a:buFont typeface="Arial" panose="020B0604020202020204" pitchFamily="34" charset="0"/>
              <a:buChar char="•"/>
            </a:pPr>
            <a:r>
              <a:rPr lang="en-US" sz="1200" dirty="0"/>
              <a:t>Resolving IT problems faster</a:t>
            </a:r>
          </a:p>
          <a:p>
            <a:pPr marL="628650" lvl="1" indent="-171450" algn="just">
              <a:buFont typeface="Arial" panose="020B0604020202020204" pitchFamily="34" charset="0"/>
              <a:buChar char="•"/>
            </a:pPr>
            <a:r>
              <a:rPr lang="en-US" sz="1200" dirty="0"/>
              <a:t>A more predictable IT environment</a:t>
            </a:r>
          </a:p>
          <a:p>
            <a:pPr marL="171450" indent="-171450" algn="just">
              <a:buFont typeface="Arial" panose="020B0604020202020204" pitchFamily="34" charset="0"/>
              <a:buChar char="•"/>
            </a:pPr>
            <a:endParaRPr lang="en-US" sz="1200" dirty="0"/>
          </a:p>
          <a:p>
            <a:pPr marL="171450" indent="-171450" algn="just">
              <a:buFont typeface="Arial" panose="020B0604020202020204" pitchFamily="34" charset="0"/>
              <a:buChar char="•"/>
            </a:pPr>
            <a:endParaRPr lang="en-US" sz="1200" dirty="0"/>
          </a:p>
          <a:p>
            <a:pPr algn="just"/>
            <a:endParaRPr lang="en-US" sz="1200" dirty="0"/>
          </a:p>
          <a:p>
            <a:pPr algn="just"/>
            <a:endParaRPr lang="en-US" sz="1200" dirty="0"/>
          </a:p>
        </p:txBody>
      </p:sp>
      <p:sp>
        <p:nvSpPr>
          <p:cNvPr id="4" name="TextBox 3">
            <a:extLst>
              <a:ext uri="{FF2B5EF4-FFF2-40B4-BE49-F238E27FC236}">
                <a16:creationId xmlns:a16="http://schemas.microsoft.com/office/drawing/2014/main" id="{201B7B84-656C-0DCA-7250-68ABD3DC2C89}"/>
              </a:ext>
            </a:extLst>
          </p:cNvPr>
          <p:cNvSpPr txBox="1"/>
          <p:nvPr/>
        </p:nvSpPr>
        <p:spPr>
          <a:xfrm>
            <a:off x="693579" y="971742"/>
            <a:ext cx="869854" cy="307777"/>
          </a:xfrm>
          <a:prstGeom prst="rect">
            <a:avLst/>
          </a:prstGeom>
          <a:noFill/>
        </p:spPr>
        <p:txBody>
          <a:bodyPr wrap="none" rtlCol="0">
            <a:spAutoFit/>
          </a:bodyPr>
          <a:lstStyle/>
          <a:p>
            <a:r>
              <a:rPr lang="en-US" sz="1400" dirty="0">
                <a:solidFill>
                  <a:srgbClr val="1F245C"/>
                </a:solidFill>
                <a:latin typeface="Avenir Next Medium" panose="020B0503020202020204" pitchFamily="34" charset="0"/>
              </a:rPr>
              <a:t>BENEFITS</a:t>
            </a:r>
          </a:p>
        </p:txBody>
      </p:sp>
    </p:spTree>
    <p:extLst>
      <p:ext uri="{BB962C8B-B14F-4D97-AF65-F5344CB8AC3E}">
        <p14:creationId xmlns:p14="http://schemas.microsoft.com/office/powerpoint/2010/main" val="29844108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26268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Table&#10;&#10;Description automatically generated with medium confidence">
            <a:extLst>
              <a:ext uri="{FF2B5EF4-FFF2-40B4-BE49-F238E27FC236}">
                <a16:creationId xmlns:a16="http://schemas.microsoft.com/office/drawing/2014/main" id="{C38150CB-2F27-51AC-BE12-9E7D632208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1747" y="292037"/>
            <a:ext cx="3111238" cy="5933669"/>
          </a:xfrm>
          <a:prstGeom prst="rect">
            <a:avLst/>
          </a:prstGeom>
        </p:spPr>
      </p:pic>
      <p:sp>
        <p:nvSpPr>
          <p:cNvPr id="5" name="TextBox 4">
            <a:extLst>
              <a:ext uri="{FF2B5EF4-FFF2-40B4-BE49-F238E27FC236}">
                <a16:creationId xmlns:a16="http://schemas.microsoft.com/office/drawing/2014/main" id="{4FCF8F87-3DD5-BE0E-1CC5-2B9F84A5902B}"/>
              </a:ext>
            </a:extLst>
          </p:cNvPr>
          <p:cNvSpPr txBox="1"/>
          <p:nvPr/>
        </p:nvSpPr>
        <p:spPr>
          <a:xfrm>
            <a:off x="693579" y="478761"/>
            <a:ext cx="1535436" cy="307777"/>
          </a:xfrm>
          <a:prstGeom prst="rect">
            <a:avLst/>
          </a:prstGeom>
          <a:noFill/>
        </p:spPr>
        <p:txBody>
          <a:bodyPr wrap="square" rtlCol="0">
            <a:spAutoFit/>
          </a:bodyPr>
          <a:lstStyle/>
          <a:p>
            <a:r>
              <a:rPr lang="en-US" sz="1400" b="1" dirty="0">
                <a:solidFill>
                  <a:srgbClr val="1F245C"/>
                </a:solidFill>
                <a:latin typeface="Avenir Next Medium" panose="020B0503020202020204" pitchFamily="34" charset="0"/>
              </a:rPr>
              <a:t>Cross Validation</a:t>
            </a:r>
          </a:p>
        </p:txBody>
      </p:sp>
    </p:spTree>
    <p:extLst>
      <p:ext uri="{BB962C8B-B14F-4D97-AF65-F5344CB8AC3E}">
        <p14:creationId xmlns:p14="http://schemas.microsoft.com/office/powerpoint/2010/main" val="3673901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800F8-461E-921C-35A1-CC13E7A7BC71}"/>
              </a:ext>
            </a:extLst>
          </p:cNvPr>
          <p:cNvSpPr>
            <a:spLocks noGrp="1"/>
          </p:cNvSpPr>
          <p:nvPr>
            <p:ph type="title"/>
          </p:nvPr>
        </p:nvSpPr>
        <p:spPr/>
        <p:txBody>
          <a:bodyPr/>
          <a:lstStyle/>
          <a:p>
            <a:endParaRPr lang="en-US"/>
          </a:p>
        </p:txBody>
      </p:sp>
      <p:pic>
        <p:nvPicPr>
          <p:cNvPr id="4" name="Picture 3" descr="Diagram&#10;&#10;Description automatically generated">
            <a:extLst>
              <a:ext uri="{FF2B5EF4-FFF2-40B4-BE49-F238E27FC236}">
                <a16:creationId xmlns:a16="http://schemas.microsoft.com/office/drawing/2014/main" id="{56319F3E-244C-3D96-7AD5-F9DBA4F3DE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27106" y="0"/>
            <a:ext cx="2981766" cy="6780505"/>
          </a:xfrm>
          <a:prstGeom prst="rect">
            <a:avLst/>
          </a:prstGeom>
        </p:spPr>
      </p:pic>
    </p:spTree>
    <p:extLst>
      <p:ext uri="{BB962C8B-B14F-4D97-AF65-F5344CB8AC3E}">
        <p14:creationId xmlns:p14="http://schemas.microsoft.com/office/powerpoint/2010/main" val="1207089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4D6AE1FA-CCAA-9BA6-C907-B380EA1700E1}"/>
              </a:ext>
            </a:extLst>
          </p:cNvPr>
          <p:cNvSpPr>
            <a:spLocks noGrp="1"/>
          </p:cNvSpPr>
          <p:nvPr>
            <p:ph type="title"/>
          </p:nvPr>
        </p:nvSpPr>
        <p:spPr>
          <a:xfrm>
            <a:off x="430178" y="384272"/>
            <a:ext cx="5423442" cy="295250"/>
          </a:xfrm>
        </p:spPr>
        <p:txBody>
          <a:bodyPr/>
          <a:lstStyle/>
          <a:p>
            <a:pPr algn="l"/>
            <a:r>
              <a:rPr lang="en-US" sz="1600" dirty="0">
                <a:solidFill>
                  <a:srgbClr val="F16834"/>
                </a:solidFill>
                <a:latin typeface="Avenir Next" panose="020B0503020202020204" pitchFamily="34" charset="0"/>
              </a:rPr>
              <a:t>PREDICTIVE Incident MANAGEMENT</a:t>
            </a:r>
          </a:p>
        </p:txBody>
      </p:sp>
      <p:sp>
        <p:nvSpPr>
          <p:cNvPr id="2" name="TextBox 1">
            <a:extLst>
              <a:ext uri="{FF2B5EF4-FFF2-40B4-BE49-F238E27FC236}">
                <a16:creationId xmlns:a16="http://schemas.microsoft.com/office/drawing/2014/main" id="{D4B34404-6CA6-085D-8635-06B126ED039C}"/>
              </a:ext>
            </a:extLst>
          </p:cNvPr>
          <p:cNvSpPr txBox="1"/>
          <p:nvPr/>
        </p:nvSpPr>
        <p:spPr>
          <a:xfrm>
            <a:off x="693579" y="1321083"/>
            <a:ext cx="6593152" cy="1384995"/>
          </a:xfrm>
          <a:prstGeom prst="rect">
            <a:avLst/>
          </a:prstGeom>
          <a:noFill/>
        </p:spPr>
        <p:txBody>
          <a:bodyPr wrap="none" rtlCol="0">
            <a:spAutoFit/>
          </a:bodyPr>
          <a:lstStyle/>
          <a:p>
            <a:pPr marL="171450" lvl="0" indent="-171450">
              <a:buFont typeface="Arial" panose="020B0604020202020204" pitchFamily="34" charset="0"/>
              <a:buChar char="•"/>
            </a:pPr>
            <a:r>
              <a:rPr lang="en-IN" sz="1200" dirty="0"/>
              <a:t>Handling large number of ITSM tickets [Volume affects the ticket routing, prioritizing and resolution]</a:t>
            </a:r>
          </a:p>
          <a:p>
            <a:pPr marL="171450" lvl="0" indent="-171450">
              <a:buFont typeface="Arial" panose="020B0604020202020204" pitchFamily="34" charset="0"/>
              <a:buChar char="•"/>
            </a:pPr>
            <a:r>
              <a:rPr lang="en-IN" sz="1200" dirty="0"/>
              <a:t>High volume of incidents results in increased MTTR, risking SLA compliance and customer satisfaction</a:t>
            </a:r>
          </a:p>
          <a:p>
            <a:pPr marL="171450" indent="-171450">
              <a:buFont typeface="Arial" panose="020B0604020202020204" pitchFamily="34" charset="0"/>
              <a:buChar char="•"/>
            </a:pPr>
            <a:r>
              <a:rPr lang="en-US" sz="1200" dirty="0"/>
              <a:t>How to proactively prevent or minizine a service outage?</a:t>
            </a:r>
          </a:p>
          <a:p>
            <a:pPr marL="171450" indent="-171450">
              <a:buFont typeface="Arial" panose="020B0604020202020204" pitchFamily="34" charset="0"/>
              <a:buChar char="•"/>
            </a:pPr>
            <a:r>
              <a:rPr lang="en-US" sz="1200" dirty="0"/>
              <a:t>How to predict an impact of an incident?</a:t>
            </a:r>
          </a:p>
          <a:p>
            <a:pPr marL="171450" indent="-171450">
              <a:buFont typeface="Arial" panose="020B0604020202020204" pitchFamily="34" charset="0"/>
              <a:buChar char="•"/>
            </a:pPr>
            <a:r>
              <a:rPr lang="en-US" sz="1200" dirty="0"/>
              <a:t>How to mitigate the risks of change-related incidents?</a:t>
            </a:r>
          </a:p>
          <a:p>
            <a:pPr marL="171450" indent="-171450">
              <a:buFont typeface="Arial" panose="020B0604020202020204" pitchFamily="34" charset="0"/>
              <a:buChar char="•"/>
            </a:pPr>
            <a:r>
              <a:rPr lang="en-US" sz="1200" dirty="0"/>
              <a:t>How to </a:t>
            </a:r>
            <a:r>
              <a:rPr lang="en-IN" sz="1200" dirty="0"/>
              <a:t>Predict incidents on environmental change</a:t>
            </a:r>
            <a:r>
              <a:rPr lang="en-US" sz="1200" dirty="0"/>
              <a:t>?</a:t>
            </a:r>
            <a:r>
              <a:rPr lang="en-IN" sz="1200" dirty="0"/>
              <a:t> </a:t>
            </a:r>
          </a:p>
          <a:p>
            <a:endParaRPr lang="en-US" sz="1200" dirty="0"/>
          </a:p>
        </p:txBody>
      </p:sp>
      <p:sp>
        <p:nvSpPr>
          <p:cNvPr id="4" name="TextBox 3">
            <a:extLst>
              <a:ext uri="{FF2B5EF4-FFF2-40B4-BE49-F238E27FC236}">
                <a16:creationId xmlns:a16="http://schemas.microsoft.com/office/drawing/2014/main" id="{201B7B84-656C-0DCA-7250-68ABD3DC2C89}"/>
              </a:ext>
            </a:extLst>
          </p:cNvPr>
          <p:cNvSpPr txBox="1"/>
          <p:nvPr/>
        </p:nvSpPr>
        <p:spPr>
          <a:xfrm>
            <a:off x="693579" y="971742"/>
            <a:ext cx="2238113" cy="307777"/>
          </a:xfrm>
          <a:prstGeom prst="rect">
            <a:avLst/>
          </a:prstGeom>
          <a:noFill/>
        </p:spPr>
        <p:txBody>
          <a:bodyPr wrap="none" rtlCol="0">
            <a:spAutoFit/>
          </a:bodyPr>
          <a:lstStyle/>
          <a:p>
            <a:r>
              <a:rPr lang="en-US" sz="1400" dirty="0">
                <a:solidFill>
                  <a:srgbClr val="1F245C"/>
                </a:solidFill>
                <a:latin typeface="Avenir Next Medium" panose="020B0503020202020204" pitchFamily="34" charset="0"/>
              </a:rPr>
              <a:t>BUSINESS CHALLENGES</a:t>
            </a:r>
          </a:p>
        </p:txBody>
      </p:sp>
      <p:sp>
        <p:nvSpPr>
          <p:cNvPr id="5" name="TextBox 4">
            <a:extLst>
              <a:ext uri="{FF2B5EF4-FFF2-40B4-BE49-F238E27FC236}">
                <a16:creationId xmlns:a16="http://schemas.microsoft.com/office/drawing/2014/main" id="{6FCFB950-3B09-C2E7-9485-3D0BB9D1F997}"/>
              </a:ext>
            </a:extLst>
          </p:cNvPr>
          <p:cNvSpPr txBox="1"/>
          <p:nvPr/>
        </p:nvSpPr>
        <p:spPr>
          <a:xfrm>
            <a:off x="693579" y="2794877"/>
            <a:ext cx="1095685" cy="307777"/>
          </a:xfrm>
          <a:prstGeom prst="rect">
            <a:avLst/>
          </a:prstGeom>
          <a:noFill/>
        </p:spPr>
        <p:txBody>
          <a:bodyPr wrap="none" rtlCol="0">
            <a:spAutoFit/>
          </a:bodyPr>
          <a:lstStyle/>
          <a:p>
            <a:r>
              <a:rPr lang="en-US" sz="1400" dirty="0">
                <a:solidFill>
                  <a:srgbClr val="F16834"/>
                </a:solidFill>
                <a:latin typeface="Avenir Next Medium" panose="020B0503020202020204" pitchFamily="34" charset="0"/>
              </a:rPr>
              <a:t>SOLUTION</a:t>
            </a:r>
          </a:p>
        </p:txBody>
      </p:sp>
      <p:sp>
        <p:nvSpPr>
          <p:cNvPr id="14" name="TextBox 13">
            <a:extLst>
              <a:ext uri="{FF2B5EF4-FFF2-40B4-BE49-F238E27FC236}">
                <a16:creationId xmlns:a16="http://schemas.microsoft.com/office/drawing/2014/main" id="{29602041-BB76-B86B-58B4-0225533E45A5}"/>
              </a:ext>
            </a:extLst>
          </p:cNvPr>
          <p:cNvSpPr txBox="1"/>
          <p:nvPr/>
        </p:nvSpPr>
        <p:spPr>
          <a:xfrm>
            <a:off x="693579" y="3165000"/>
            <a:ext cx="8530925" cy="1600438"/>
          </a:xfrm>
          <a:prstGeom prst="rect">
            <a:avLst/>
          </a:prstGeom>
          <a:noFill/>
        </p:spPr>
        <p:txBody>
          <a:bodyPr wrap="none" rtlCol="0">
            <a:spAutoFit/>
          </a:bodyPr>
          <a:lstStyle/>
          <a:p>
            <a:pPr lvl="0"/>
            <a:r>
              <a:rPr lang="en-IN" sz="1400" dirty="0">
                <a:solidFill>
                  <a:srgbClr val="1F245C"/>
                </a:solidFill>
                <a:latin typeface="Avenir Next" panose="020B0503020202020204" pitchFamily="34" charset="0"/>
              </a:rPr>
              <a:t>Utilising the Machine Learning algorithms, data analysis methods to create a solution that is capable of</a:t>
            </a:r>
          </a:p>
          <a:p>
            <a:pPr lvl="0"/>
            <a:endParaRPr lang="en-IN" sz="1200" dirty="0"/>
          </a:p>
          <a:p>
            <a:pPr marL="628650" lvl="1" indent="-171450">
              <a:buFont typeface="Arial" panose="020B0604020202020204" pitchFamily="34" charset="0"/>
              <a:buChar char="•"/>
            </a:pPr>
            <a:r>
              <a:rPr lang="en-IN" sz="1200" dirty="0"/>
              <a:t>Incident type identification </a:t>
            </a:r>
          </a:p>
          <a:p>
            <a:pPr marL="628650" lvl="2" indent="-171450">
              <a:buFont typeface="Arial" panose="020B0604020202020204" pitchFamily="34" charset="0"/>
              <a:buChar char="•"/>
            </a:pPr>
            <a:r>
              <a:rPr lang="en-IN" sz="1200" dirty="0"/>
              <a:t>Resolution time prediction</a:t>
            </a:r>
          </a:p>
          <a:p>
            <a:pPr marL="628650" lvl="2" indent="-171450">
              <a:buFont typeface="Arial" panose="020B0604020202020204" pitchFamily="34" charset="0"/>
              <a:buChar char="•"/>
            </a:pPr>
            <a:r>
              <a:rPr lang="en-US" sz="1200" dirty="0"/>
              <a:t>Predicting a potential problem on a new change (change risk prediction)</a:t>
            </a:r>
          </a:p>
          <a:p>
            <a:pPr marL="628650" lvl="2" indent="-171450">
              <a:buFont typeface="Arial" panose="020B0604020202020204" pitchFamily="34" charset="0"/>
              <a:buChar char="•"/>
            </a:pPr>
            <a:r>
              <a:rPr lang="en-IN" sz="1200" dirty="0"/>
              <a:t>Predicting incidents on environmental change</a:t>
            </a:r>
          </a:p>
          <a:p>
            <a:pPr marL="628650" lvl="2" indent="-171450">
              <a:buFont typeface="Arial" panose="020B0604020202020204" pitchFamily="34" charset="0"/>
              <a:buChar char="•"/>
            </a:pPr>
            <a:r>
              <a:rPr lang="en-US" sz="1200" dirty="0"/>
              <a:t>Predicting possibility of a change failure</a:t>
            </a:r>
          </a:p>
          <a:p>
            <a:pPr marL="628650" lvl="2" indent="-171450">
              <a:buFont typeface="Arial" panose="020B0604020202020204" pitchFamily="34" charset="0"/>
              <a:buChar char="•"/>
            </a:pPr>
            <a:r>
              <a:rPr lang="en-US" sz="1200" dirty="0"/>
              <a:t>Root Cause Analysis</a:t>
            </a:r>
            <a:endParaRPr lang="en-IN" sz="1200" dirty="0"/>
          </a:p>
        </p:txBody>
      </p:sp>
    </p:spTree>
    <p:extLst>
      <p:ext uri="{BB962C8B-B14F-4D97-AF65-F5344CB8AC3E}">
        <p14:creationId xmlns:p14="http://schemas.microsoft.com/office/powerpoint/2010/main" val="6943686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2" presetClass="entr" presetSubtype="4"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4"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1EC32A-B41A-53B2-C2E9-F5E80C79629E}"/>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B3B4F85D-89C9-65F1-0151-5C9D4E24B9EE}"/>
              </a:ext>
            </a:extLst>
          </p:cNvPr>
          <p:cNvSpPr>
            <a:spLocks noGrp="1"/>
          </p:cNvSpPr>
          <p:nvPr>
            <p:ph idx="1"/>
          </p:nvPr>
        </p:nvSpPr>
        <p:spPr>
          <a:xfrm>
            <a:off x="428263" y="1944304"/>
            <a:ext cx="11204294" cy="3359216"/>
          </a:xfrm>
        </p:spPr>
        <p:txBody>
          <a:bodyPr/>
          <a:lstStyle/>
          <a:p>
            <a:r>
              <a:rPr lang="en-US" b="0" i="0" dirty="0" err="1">
                <a:solidFill>
                  <a:srgbClr val="242424"/>
                </a:solidFill>
                <a:effectLst/>
                <a:latin typeface="-apple-system"/>
              </a:rPr>
              <a:t>Env_Change_Keywords</a:t>
            </a:r>
            <a:r>
              <a:rPr lang="en-US" b="0" i="0" dirty="0">
                <a:solidFill>
                  <a:srgbClr val="242424"/>
                </a:solidFill>
                <a:effectLst/>
                <a:latin typeface="-apple-system"/>
              </a:rPr>
              <a:t>= ["</a:t>
            </a:r>
            <a:r>
              <a:rPr lang="en-US" b="0" i="0" dirty="0" err="1">
                <a:solidFill>
                  <a:srgbClr val="242424"/>
                </a:solidFill>
                <a:effectLst/>
                <a:latin typeface="-apple-system"/>
              </a:rPr>
              <a:t>sql</a:t>
            </a:r>
            <a:r>
              <a:rPr lang="en-US" b="0" i="0" dirty="0">
                <a:solidFill>
                  <a:srgbClr val="242424"/>
                </a:solidFill>
                <a:effectLst/>
                <a:latin typeface="-apple-system"/>
              </a:rPr>
              <a:t>","</a:t>
            </a:r>
            <a:r>
              <a:rPr lang="en-US" b="0" i="0" dirty="0" err="1">
                <a:solidFill>
                  <a:srgbClr val="242424"/>
                </a:solidFill>
                <a:effectLst/>
                <a:latin typeface="-apple-system"/>
              </a:rPr>
              <a:t>server","integration","load</a:t>
            </a:r>
            <a:r>
              <a:rPr lang="en-US" b="0" i="0" dirty="0">
                <a:solidFill>
                  <a:srgbClr val="242424"/>
                </a:solidFill>
                <a:effectLst/>
                <a:latin typeface="-apple-system"/>
              </a:rPr>
              <a:t> balance","notification","db","database","webserver","website","share","connectivity"]</a:t>
            </a:r>
          </a:p>
          <a:p>
            <a:endParaRPr lang="en-US" dirty="0">
              <a:solidFill>
                <a:srgbClr val="242424"/>
              </a:solidFill>
              <a:latin typeface="-apple-system"/>
            </a:endParaRPr>
          </a:p>
          <a:p>
            <a:r>
              <a:rPr lang="en-US" b="0" i="0" dirty="0" err="1">
                <a:solidFill>
                  <a:srgbClr val="242424"/>
                </a:solidFill>
                <a:effectLst/>
                <a:latin typeface="-apple-system"/>
              </a:rPr>
              <a:t>Change_keyword</a:t>
            </a:r>
            <a:r>
              <a:rPr lang="en-US" b="0" i="0" dirty="0">
                <a:solidFill>
                  <a:srgbClr val="242424"/>
                </a:solidFill>
                <a:effectLst/>
                <a:latin typeface="-apple-system"/>
              </a:rPr>
              <a:t>=["update","change","enhancement","release","deployment","implement","permission"]</a:t>
            </a:r>
            <a:endParaRPr lang="en-US" dirty="0"/>
          </a:p>
        </p:txBody>
      </p:sp>
    </p:spTree>
    <p:extLst>
      <p:ext uri="{BB962C8B-B14F-4D97-AF65-F5344CB8AC3E}">
        <p14:creationId xmlns:p14="http://schemas.microsoft.com/office/powerpoint/2010/main" val="2040775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4D6AE1FA-CCAA-9BA6-C907-B380EA1700E1}"/>
              </a:ext>
            </a:extLst>
          </p:cNvPr>
          <p:cNvSpPr>
            <a:spLocks noGrp="1"/>
          </p:cNvSpPr>
          <p:nvPr>
            <p:ph type="title"/>
          </p:nvPr>
        </p:nvSpPr>
        <p:spPr>
          <a:xfrm>
            <a:off x="430178" y="384272"/>
            <a:ext cx="5423442" cy="295250"/>
          </a:xfrm>
        </p:spPr>
        <p:txBody>
          <a:bodyPr/>
          <a:lstStyle/>
          <a:p>
            <a:pPr algn="l"/>
            <a:r>
              <a:rPr lang="en-US" sz="1600" dirty="0">
                <a:solidFill>
                  <a:srgbClr val="F16834"/>
                </a:solidFill>
                <a:latin typeface="Avenir Next" panose="020B0503020202020204" pitchFamily="34" charset="0"/>
              </a:rPr>
              <a:t>PREDICTIVE Incident MANAGEMENT</a:t>
            </a:r>
          </a:p>
        </p:txBody>
      </p:sp>
      <p:sp>
        <p:nvSpPr>
          <p:cNvPr id="2" name="TextBox 1">
            <a:extLst>
              <a:ext uri="{FF2B5EF4-FFF2-40B4-BE49-F238E27FC236}">
                <a16:creationId xmlns:a16="http://schemas.microsoft.com/office/drawing/2014/main" id="{D4B34404-6CA6-085D-8635-06B126ED039C}"/>
              </a:ext>
            </a:extLst>
          </p:cNvPr>
          <p:cNvSpPr txBox="1"/>
          <p:nvPr/>
        </p:nvSpPr>
        <p:spPr>
          <a:xfrm>
            <a:off x="693579" y="1279519"/>
            <a:ext cx="8991110" cy="2123658"/>
          </a:xfrm>
          <a:prstGeom prst="rect">
            <a:avLst/>
          </a:prstGeom>
          <a:noFill/>
        </p:spPr>
        <p:txBody>
          <a:bodyPr wrap="square" rtlCol="0">
            <a:spAutoFit/>
          </a:bodyPr>
          <a:lstStyle/>
          <a:p>
            <a:pPr marL="171450" lvl="0" indent="-171450" algn="just">
              <a:buFont typeface="Arial" panose="020B0604020202020204" pitchFamily="34" charset="0"/>
              <a:buChar char="•"/>
            </a:pPr>
            <a:r>
              <a:rPr lang="en-US" sz="1200" b="1" dirty="0"/>
              <a:t>Faster MTTR </a:t>
            </a:r>
            <a:r>
              <a:rPr lang="en-US" sz="1200" dirty="0"/>
              <a:t>(Mean Time To Resolution) : Automatic Ticket routing based on incident types; root cause analysis will help to improve MTTR</a:t>
            </a:r>
          </a:p>
          <a:p>
            <a:pPr marL="171450" lvl="0" indent="-171450" algn="just">
              <a:buFont typeface="Arial" panose="020B0604020202020204" pitchFamily="34" charset="0"/>
              <a:buChar char="•"/>
            </a:pPr>
            <a:r>
              <a:rPr lang="en-US" sz="1200" dirty="0"/>
              <a:t>This will be acting as a catalyst between operations and the ticketing management system. It will help you to organize your incident management in a better way. </a:t>
            </a:r>
          </a:p>
          <a:p>
            <a:pPr marL="171450" lvl="0" indent="-171450" algn="just">
              <a:buFont typeface="Arial" panose="020B0604020202020204" pitchFamily="34" charset="0"/>
              <a:buChar char="•"/>
            </a:pPr>
            <a:r>
              <a:rPr lang="en-US" sz="1200" b="1" dirty="0"/>
              <a:t>Increased Productivity</a:t>
            </a:r>
            <a:r>
              <a:rPr lang="en-US" sz="1200" dirty="0"/>
              <a:t> : The models will also help to find the root cause of incidents, so the amount of time spent by the L1,L2 team will drastically reduced , they can be utilized for other things</a:t>
            </a:r>
          </a:p>
          <a:p>
            <a:pPr marL="171450" indent="-171450" algn="just">
              <a:buFont typeface="Arial" panose="020B0604020202020204" pitchFamily="34" charset="0"/>
              <a:buChar char="•"/>
            </a:pPr>
            <a:r>
              <a:rPr lang="en-US" sz="1200" b="1" dirty="0"/>
              <a:t>Reactive to Proactive Approach</a:t>
            </a:r>
            <a:r>
              <a:rPr lang="en-US" sz="1200" dirty="0"/>
              <a:t> : Incident prediction on change request failure, or environment change  will help to fix the issues before it become system wide incidents. </a:t>
            </a:r>
          </a:p>
          <a:p>
            <a:pPr marL="171450" indent="-171450" algn="just">
              <a:buFont typeface="Arial" panose="020B0604020202020204" pitchFamily="34" charset="0"/>
              <a:buChar char="•"/>
            </a:pPr>
            <a:r>
              <a:rPr lang="en-US" sz="1200" dirty="0"/>
              <a:t>It will help you to make better business decisions. Then you can take a call on which area to focus on.</a:t>
            </a:r>
          </a:p>
          <a:p>
            <a:pPr marL="171450" indent="-171450" algn="just">
              <a:buFont typeface="Arial" panose="020B0604020202020204" pitchFamily="34" charset="0"/>
              <a:buChar char="•"/>
            </a:pPr>
            <a:endParaRPr lang="en-US" sz="1200" dirty="0"/>
          </a:p>
          <a:p>
            <a:pPr algn="just"/>
            <a:endParaRPr lang="en-US" sz="1200" dirty="0"/>
          </a:p>
          <a:p>
            <a:pPr algn="just"/>
            <a:endParaRPr lang="en-US" sz="1200" dirty="0"/>
          </a:p>
        </p:txBody>
      </p:sp>
      <p:sp>
        <p:nvSpPr>
          <p:cNvPr id="4" name="TextBox 3">
            <a:extLst>
              <a:ext uri="{FF2B5EF4-FFF2-40B4-BE49-F238E27FC236}">
                <a16:creationId xmlns:a16="http://schemas.microsoft.com/office/drawing/2014/main" id="{201B7B84-656C-0DCA-7250-68ABD3DC2C89}"/>
              </a:ext>
            </a:extLst>
          </p:cNvPr>
          <p:cNvSpPr txBox="1"/>
          <p:nvPr/>
        </p:nvSpPr>
        <p:spPr>
          <a:xfrm>
            <a:off x="693579" y="971742"/>
            <a:ext cx="869854" cy="307777"/>
          </a:xfrm>
          <a:prstGeom prst="rect">
            <a:avLst/>
          </a:prstGeom>
          <a:noFill/>
        </p:spPr>
        <p:txBody>
          <a:bodyPr wrap="none" rtlCol="0">
            <a:spAutoFit/>
          </a:bodyPr>
          <a:lstStyle/>
          <a:p>
            <a:r>
              <a:rPr lang="en-US" sz="1400" dirty="0">
                <a:solidFill>
                  <a:srgbClr val="1F245C"/>
                </a:solidFill>
                <a:latin typeface="Avenir Next Medium" panose="020B0503020202020204" pitchFamily="34" charset="0"/>
              </a:rPr>
              <a:t>BENEFITS</a:t>
            </a:r>
          </a:p>
        </p:txBody>
      </p:sp>
      <p:pic>
        <p:nvPicPr>
          <p:cNvPr id="3" name="Picture 2">
            <a:extLst>
              <a:ext uri="{FF2B5EF4-FFF2-40B4-BE49-F238E27FC236}">
                <a16:creationId xmlns:a16="http://schemas.microsoft.com/office/drawing/2014/main" id="{5E76E3C2-41E6-2D9D-861D-A5D06E2D85B4}"/>
              </a:ext>
            </a:extLst>
          </p:cNvPr>
          <p:cNvPicPr>
            <a:picLocks noChangeAspect="1"/>
          </p:cNvPicPr>
          <p:nvPr/>
        </p:nvPicPr>
        <p:blipFill>
          <a:blip r:embed="rId3"/>
          <a:stretch>
            <a:fillRect/>
          </a:stretch>
        </p:blipFill>
        <p:spPr>
          <a:xfrm>
            <a:off x="3630113" y="3013588"/>
            <a:ext cx="4026345" cy="3460140"/>
          </a:xfrm>
          <a:prstGeom prst="rect">
            <a:avLst/>
          </a:prstGeom>
        </p:spPr>
      </p:pic>
    </p:spTree>
    <p:extLst>
      <p:ext uri="{BB962C8B-B14F-4D97-AF65-F5344CB8AC3E}">
        <p14:creationId xmlns:p14="http://schemas.microsoft.com/office/powerpoint/2010/main" val="37896726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F4CA771E-DB23-F48B-AAFE-DA9ACF3B12C9}"/>
              </a:ext>
            </a:extLst>
          </p:cNvPr>
          <p:cNvGraphicFramePr/>
          <p:nvPr>
            <p:extLst>
              <p:ext uri="{D42A27DB-BD31-4B8C-83A1-F6EECF244321}">
                <p14:modId xmlns:p14="http://schemas.microsoft.com/office/powerpoint/2010/main" val="969599038"/>
              </p:ext>
            </p:extLst>
          </p:nvPr>
        </p:nvGraphicFramePr>
        <p:xfrm>
          <a:off x="550507" y="719667"/>
          <a:ext cx="11262048" cy="59983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1B433EA2-2612-994F-CE25-9F74E03090B5}"/>
              </a:ext>
            </a:extLst>
          </p:cNvPr>
          <p:cNvSpPr txBox="1"/>
          <p:nvPr/>
        </p:nvSpPr>
        <p:spPr>
          <a:xfrm>
            <a:off x="487322" y="293635"/>
            <a:ext cx="2047181" cy="369332"/>
          </a:xfrm>
          <a:prstGeom prst="rect">
            <a:avLst/>
          </a:prstGeom>
          <a:noFill/>
        </p:spPr>
        <p:txBody>
          <a:bodyPr wrap="square" rtlCol="0">
            <a:spAutoFit/>
          </a:bodyPr>
          <a:lstStyle/>
          <a:p>
            <a:r>
              <a:rPr lang="en-US" dirty="0">
                <a:solidFill>
                  <a:srgbClr val="1F245C"/>
                </a:solidFill>
                <a:latin typeface="Avenir Next Medium" panose="020B0503020202020204" pitchFamily="34" charset="0"/>
              </a:rPr>
              <a:t>PROCESS FLOW</a:t>
            </a:r>
          </a:p>
        </p:txBody>
      </p:sp>
      <p:grpSp>
        <p:nvGrpSpPr>
          <p:cNvPr id="25" name="Group 24">
            <a:extLst>
              <a:ext uri="{FF2B5EF4-FFF2-40B4-BE49-F238E27FC236}">
                <a16:creationId xmlns:a16="http://schemas.microsoft.com/office/drawing/2014/main" id="{BF6D9923-0EC3-C2B3-03C3-9C0F38AE28BE}"/>
              </a:ext>
            </a:extLst>
          </p:cNvPr>
          <p:cNvGrpSpPr/>
          <p:nvPr/>
        </p:nvGrpSpPr>
        <p:grpSpPr>
          <a:xfrm>
            <a:off x="6725966" y="2799100"/>
            <a:ext cx="275005" cy="395219"/>
            <a:chOff x="2682876" y="1790701"/>
            <a:chExt cx="514350" cy="746125"/>
          </a:xfrm>
          <a:solidFill>
            <a:srgbClr val="1F245C"/>
          </a:solidFill>
          <a:effectLst>
            <a:outerShdw blurRad="76200" dir="18900000" sy="23000" kx="-1200000" algn="bl" rotWithShape="0">
              <a:prstClr val="black">
                <a:alpha val="20000"/>
              </a:prstClr>
            </a:outerShdw>
          </a:effectLst>
        </p:grpSpPr>
        <p:sp>
          <p:nvSpPr>
            <p:cNvPr id="26" name="Freeform 25">
              <a:extLst>
                <a:ext uri="{FF2B5EF4-FFF2-40B4-BE49-F238E27FC236}">
                  <a16:creationId xmlns:a16="http://schemas.microsoft.com/office/drawing/2014/main" id="{83A61B08-5317-9904-C6D9-D76F3846E484}"/>
                </a:ext>
              </a:extLst>
            </p:cNvPr>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27" name="Freeform 26">
              <a:extLst>
                <a:ext uri="{FF2B5EF4-FFF2-40B4-BE49-F238E27FC236}">
                  <a16:creationId xmlns:a16="http://schemas.microsoft.com/office/drawing/2014/main" id="{F1D2B2EB-3679-5CF0-2A65-5E7E7C85818E}"/>
                </a:ext>
              </a:extLst>
            </p:cNvPr>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28" name="Oval 27">
              <a:extLst>
                <a:ext uri="{FF2B5EF4-FFF2-40B4-BE49-F238E27FC236}">
                  <a16:creationId xmlns:a16="http://schemas.microsoft.com/office/drawing/2014/main" id="{5B15D614-723D-55FB-16E2-716CB4ABFB26}"/>
                </a:ext>
              </a:extLst>
            </p:cNvPr>
            <p:cNvSpPr>
              <a:spLocks noChangeArrowheads="1"/>
            </p:cNvSpPr>
            <p:nvPr/>
          </p:nvSpPr>
          <p:spPr bwMode="auto">
            <a:xfrm>
              <a:off x="2746376" y="1855788"/>
              <a:ext cx="387350" cy="38258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350" dirty="0"/>
            </a:p>
          </p:txBody>
        </p:sp>
      </p:grpSp>
      <p:sp>
        <p:nvSpPr>
          <p:cNvPr id="29" name="TextBox 28">
            <a:extLst>
              <a:ext uri="{FF2B5EF4-FFF2-40B4-BE49-F238E27FC236}">
                <a16:creationId xmlns:a16="http://schemas.microsoft.com/office/drawing/2014/main" id="{E4BBFE7F-AD4B-0485-AF59-60C1773E453B}"/>
              </a:ext>
            </a:extLst>
          </p:cNvPr>
          <p:cNvSpPr txBox="1"/>
          <p:nvPr/>
        </p:nvSpPr>
        <p:spPr>
          <a:xfrm>
            <a:off x="7766698" y="1275147"/>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29/07/22</a:t>
            </a:r>
          </a:p>
        </p:txBody>
      </p:sp>
      <p:sp>
        <p:nvSpPr>
          <p:cNvPr id="30" name="TextBox 29">
            <a:extLst>
              <a:ext uri="{FF2B5EF4-FFF2-40B4-BE49-F238E27FC236}">
                <a16:creationId xmlns:a16="http://schemas.microsoft.com/office/drawing/2014/main" id="{BB020417-2E7B-9743-7CA9-844148C76CB8}"/>
              </a:ext>
            </a:extLst>
          </p:cNvPr>
          <p:cNvSpPr txBox="1"/>
          <p:nvPr/>
        </p:nvSpPr>
        <p:spPr>
          <a:xfrm>
            <a:off x="10147190" y="1275147"/>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03/08/22</a:t>
            </a:r>
          </a:p>
        </p:txBody>
      </p:sp>
      <p:sp>
        <p:nvSpPr>
          <p:cNvPr id="31" name="TextBox 30">
            <a:extLst>
              <a:ext uri="{FF2B5EF4-FFF2-40B4-BE49-F238E27FC236}">
                <a16:creationId xmlns:a16="http://schemas.microsoft.com/office/drawing/2014/main" id="{D40CE3C4-9351-52A7-D0F0-604C611250CE}"/>
              </a:ext>
            </a:extLst>
          </p:cNvPr>
          <p:cNvSpPr txBox="1"/>
          <p:nvPr/>
        </p:nvSpPr>
        <p:spPr>
          <a:xfrm>
            <a:off x="10147189" y="2991568"/>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09/08/22</a:t>
            </a:r>
          </a:p>
        </p:txBody>
      </p:sp>
      <p:sp>
        <p:nvSpPr>
          <p:cNvPr id="32" name="TextBox 31">
            <a:extLst>
              <a:ext uri="{FF2B5EF4-FFF2-40B4-BE49-F238E27FC236}">
                <a16:creationId xmlns:a16="http://schemas.microsoft.com/office/drawing/2014/main" id="{33E5D227-A193-98E7-DFCD-F48DB96D7F17}"/>
              </a:ext>
            </a:extLst>
          </p:cNvPr>
          <p:cNvSpPr txBox="1"/>
          <p:nvPr/>
        </p:nvSpPr>
        <p:spPr>
          <a:xfrm>
            <a:off x="7766697" y="2989698"/>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11/08/22</a:t>
            </a:r>
          </a:p>
        </p:txBody>
      </p:sp>
      <p:sp>
        <p:nvSpPr>
          <p:cNvPr id="33" name="TextBox 32">
            <a:extLst>
              <a:ext uri="{FF2B5EF4-FFF2-40B4-BE49-F238E27FC236}">
                <a16:creationId xmlns:a16="http://schemas.microsoft.com/office/drawing/2014/main" id="{B29B8C92-D575-806A-C10A-D83F379F2864}"/>
              </a:ext>
            </a:extLst>
          </p:cNvPr>
          <p:cNvSpPr txBox="1"/>
          <p:nvPr/>
        </p:nvSpPr>
        <p:spPr>
          <a:xfrm>
            <a:off x="5380676" y="2989698"/>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11/08/22</a:t>
            </a:r>
          </a:p>
        </p:txBody>
      </p:sp>
      <p:sp>
        <p:nvSpPr>
          <p:cNvPr id="2" name="TextBox 1">
            <a:extLst>
              <a:ext uri="{FF2B5EF4-FFF2-40B4-BE49-F238E27FC236}">
                <a16:creationId xmlns:a16="http://schemas.microsoft.com/office/drawing/2014/main" id="{F041B6BE-0088-6701-92AB-B00465215D7D}"/>
              </a:ext>
            </a:extLst>
          </p:cNvPr>
          <p:cNvSpPr txBox="1"/>
          <p:nvPr/>
        </p:nvSpPr>
        <p:spPr>
          <a:xfrm>
            <a:off x="550507" y="2528846"/>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a:t>
            </a:r>
          </a:p>
        </p:txBody>
      </p:sp>
      <p:sp>
        <p:nvSpPr>
          <p:cNvPr id="5" name="TextBox 4">
            <a:extLst>
              <a:ext uri="{FF2B5EF4-FFF2-40B4-BE49-F238E27FC236}">
                <a16:creationId xmlns:a16="http://schemas.microsoft.com/office/drawing/2014/main" id="{4B2D73E5-DF66-87A3-55E4-C32609BE7646}"/>
              </a:ext>
            </a:extLst>
          </p:cNvPr>
          <p:cNvSpPr txBox="1"/>
          <p:nvPr/>
        </p:nvSpPr>
        <p:spPr>
          <a:xfrm>
            <a:off x="2952050" y="2528846"/>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2</a:t>
            </a:r>
          </a:p>
        </p:txBody>
      </p:sp>
      <p:sp>
        <p:nvSpPr>
          <p:cNvPr id="6" name="TextBox 5">
            <a:extLst>
              <a:ext uri="{FF2B5EF4-FFF2-40B4-BE49-F238E27FC236}">
                <a16:creationId xmlns:a16="http://schemas.microsoft.com/office/drawing/2014/main" id="{CF49D8B0-FB07-55EF-9EB4-23217D9E1C66}"/>
              </a:ext>
            </a:extLst>
          </p:cNvPr>
          <p:cNvSpPr txBox="1"/>
          <p:nvPr/>
        </p:nvSpPr>
        <p:spPr>
          <a:xfrm>
            <a:off x="5353979" y="2528846"/>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3</a:t>
            </a:r>
          </a:p>
        </p:txBody>
      </p:sp>
      <p:sp>
        <p:nvSpPr>
          <p:cNvPr id="8" name="TextBox 7">
            <a:extLst>
              <a:ext uri="{FF2B5EF4-FFF2-40B4-BE49-F238E27FC236}">
                <a16:creationId xmlns:a16="http://schemas.microsoft.com/office/drawing/2014/main" id="{331AD2B4-B1C4-8BA2-1993-77379C379A9A}"/>
              </a:ext>
            </a:extLst>
          </p:cNvPr>
          <p:cNvSpPr txBox="1"/>
          <p:nvPr/>
        </p:nvSpPr>
        <p:spPr>
          <a:xfrm>
            <a:off x="7763977" y="2528846"/>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4</a:t>
            </a:r>
          </a:p>
        </p:txBody>
      </p:sp>
      <p:sp>
        <p:nvSpPr>
          <p:cNvPr id="9" name="TextBox 8">
            <a:extLst>
              <a:ext uri="{FF2B5EF4-FFF2-40B4-BE49-F238E27FC236}">
                <a16:creationId xmlns:a16="http://schemas.microsoft.com/office/drawing/2014/main" id="{0FF6EBA3-8D75-B3DC-3B58-CD26D7F5F0F5}"/>
              </a:ext>
            </a:extLst>
          </p:cNvPr>
          <p:cNvSpPr txBox="1"/>
          <p:nvPr/>
        </p:nvSpPr>
        <p:spPr>
          <a:xfrm>
            <a:off x="10105054" y="2528846"/>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5</a:t>
            </a:r>
          </a:p>
        </p:txBody>
      </p:sp>
      <p:sp>
        <p:nvSpPr>
          <p:cNvPr id="10" name="TextBox 9">
            <a:extLst>
              <a:ext uri="{FF2B5EF4-FFF2-40B4-BE49-F238E27FC236}">
                <a16:creationId xmlns:a16="http://schemas.microsoft.com/office/drawing/2014/main" id="{F15E8924-2FE6-67D3-6A32-4A4586BCAD9F}"/>
              </a:ext>
            </a:extLst>
          </p:cNvPr>
          <p:cNvSpPr txBox="1"/>
          <p:nvPr/>
        </p:nvSpPr>
        <p:spPr>
          <a:xfrm>
            <a:off x="543566" y="1275147"/>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18/07/22</a:t>
            </a:r>
          </a:p>
        </p:txBody>
      </p:sp>
      <p:sp>
        <p:nvSpPr>
          <p:cNvPr id="11" name="TextBox 10">
            <a:extLst>
              <a:ext uri="{FF2B5EF4-FFF2-40B4-BE49-F238E27FC236}">
                <a16:creationId xmlns:a16="http://schemas.microsoft.com/office/drawing/2014/main" id="{B46B1BC3-E6FF-F7BB-556B-8589C863546D}"/>
              </a:ext>
            </a:extLst>
          </p:cNvPr>
          <p:cNvSpPr txBox="1"/>
          <p:nvPr/>
        </p:nvSpPr>
        <p:spPr>
          <a:xfrm>
            <a:off x="2924058" y="1275147"/>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25/07/22</a:t>
            </a:r>
          </a:p>
        </p:txBody>
      </p:sp>
      <p:sp>
        <p:nvSpPr>
          <p:cNvPr id="12" name="TextBox 11">
            <a:extLst>
              <a:ext uri="{FF2B5EF4-FFF2-40B4-BE49-F238E27FC236}">
                <a16:creationId xmlns:a16="http://schemas.microsoft.com/office/drawing/2014/main" id="{19B49385-2209-6A8B-7F8F-19DD85D65856}"/>
              </a:ext>
            </a:extLst>
          </p:cNvPr>
          <p:cNvSpPr txBox="1"/>
          <p:nvPr/>
        </p:nvSpPr>
        <p:spPr>
          <a:xfrm>
            <a:off x="5380676" y="1275147"/>
            <a:ext cx="627095" cy="215444"/>
          </a:xfrm>
          <a:prstGeom prst="rect">
            <a:avLst/>
          </a:prstGeom>
          <a:noFill/>
        </p:spPr>
        <p:txBody>
          <a:bodyPr wrap="none" rtlCol="0">
            <a:spAutoFit/>
          </a:bodyPr>
          <a:lstStyle/>
          <a:p>
            <a:r>
              <a:rPr lang="en-US" sz="800" b="1" dirty="0">
                <a:solidFill>
                  <a:srgbClr val="178B54"/>
                </a:solidFill>
                <a:latin typeface="Avenir Next Medium" panose="020B0503020202020204" pitchFamily="34" charset="0"/>
              </a:rPr>
              <a:t>27/07/22</a:t>
            </a:r>
          </a:p>
        </p:txBody>
      </p:sp>
      <p:sp>
        <p:nvSpPr>
          <p:cNvPr id="13" name="TextBox 12">
            <a:extLst>
              <a:ext uri="{FF2B5EF4-FFF2-40B4-BE49-F238E27FC236}">
                <a16:creationId xmlns:a16="http://schemas.microsoft.com/office/drawing/2014/main" id="{03248C61-A20F-6AED-D0D1-CDB510A81DB2}"/>
              </a:ext>
            </a:extLst>
          </p:cNvPr>
          <p:cNvSpPr txBox="1"/>
          <p:nvPr/>
        </p:nvSpPr>
        <p:spPr>
          <a:xfrm>
            <a:off x="525620" y="4239463"/>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0</a:t>
            </a:r>
          </a:p>
        </p:txBody>
      </p:sp>
      <p:sp>
        <p:nvSpPr>
          <p:cNvPr id="14" name="TextBox 13">
            <a:extLst>
              <a:ext uri="{FF2B5EF4-FFF2-40B4-BE49-F238E27FC236}">
                <a16:creationId xmlns:a16="http://schemas.microsoft.com/office/drawing/2014/main" id="{7C062950-FF0B-613F-DF72-D816F3374B45}"/>
              </a:ext>
            </a:extLst>
          </p:cNvPr>
          <p:cNvSpPr txBox="1"/>
          <p:nvPr/>
        </p:nvSpPr>
        <p:spPr>
          <a:xfrm>
            <a:off x="2927163" y="4239463"/>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9</a:t>
            </a:r>
          </a:p>
        </p:txBody>
      </p:sp>
      <p:sp>
        <p:nvSpPr>
          <p:cNvPr id="15" name="TextBox 14">
            <a:extLst>
              <a:ext uri="{FF2B5EF4-FFF2-40B4-BE49-F238E27FC236}">
                <a16:creationId xmlns:a16="http://schemas.microsoft.com/office/drawing/2014/main" id="{AC1C5BDF-B355-7924-996B-95701B0892DB}"/>
              </a:ext>
            </a:extLst>
          </p:cNvPr>
          <p:cNvSpPr txBox="1"/>
          <p:nvPr/>
        </p:nvSpPr>
        <p:spPr>
          <a:xfrm>
            <a:off x="5329092" y="4239463"/>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8</a:t>
            </a:r>
          </a:p>
        </p:txBody>
      </p:sp>
      <p:sp>
        <p:nvSpPr>
          <p:cNvPr id="16" name="TextBox 15">
            <a:extLst>
              <a:ext uri="{FF2B5EF4-FFF2-40B4-BE49-F238E27FC236}">
                <a16:creationId xmlns:a16="http://schemas.microsoft.com/office/drawing/2014/main" id="{7079D594-C59A-998C-4DA1-F61F64C10120}"/>
              </a:ext>
            </a:extLst>
          </p:cNvPr>
          <p:cNvSpPr txBox="1"/>
          <p:nvPr/>
        </p:nvSpPr>
        <p:spPr>
          <a:xfrm>
            <a:off x="7739090" y="4239463"/>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7</a:t>
            </a:r>
          </a:p>
        </p:txBody>
      </p:sp>
      <p:sp>
        <p:nvSpPr>
          <p:cNvPr id="17" name="TextBox 16">
            <a:extLst>
              <a:ext uri="{FF2B5EF4-FFF2-40B4-BE49-F238E27FC236}">
                <a16:creationId xmlns:a16="http://schemas.microsoft.com/office/drawing/2014/main" id="{35C04AD8-22B4-0F26-6A1E-9FD0266E76D4}"/>
              </a:ext>
            </a:extLst>
          </p:cNvPr>
          <p:cNvSpPr txBox="1"/>
          <p:nvPr/>
        </p:nvSpPr>
        <p:spPr>
          <a:xfrm>
            <a:off x="10080167" y="4239463"/>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6</a:t>
            </a:r>
          </a:p>
        </p:txBody>
      </p:sp>
      <p:sp>
        <p:nvSpPr>
          <p:cNvPr id="18" name="TextBox 17">
            <a:extLst>
              <a:ext uri="{FF2B5EF4-FFF2-40B4-BE49-F238E27FC236}">
                <a16:creationId xmlns:a16="http://schemas.microsoft.com/office/drawing/2014/main" id="{67C964DC-A613-1657-3A2C-3315FDCDD1F3}"/>
              </a:ext>
            </a:extLst>
          </p:cNvPr>
          <p:cNvSpPr txBox="1"/>
          <p:nvPr/>
        </p:nvSpPr>
        <p:spPr>
          <a:xfrm>
            <a:off x="538059" y="5950081"/>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1</a:t>
            </a:r>
          </a:p>
        </p:txBody>
      </p:sp>
      <p:sp>
        <p:nvSpPr>
          <p:cNvPr id="19" name="TextBox 18">
            <a:extLst>
              <a:ext uri="{FF2B5EF4-FFF2-40B4-BE49-F238E27FC236}">
                <a16:creationId xmlns:a16="http://schemas.microsoft.com/office/drawing/2014/main" id="{6712993D-B4CC-0C36-5C77-798DB59EF0F0}"/>
              </a:ext>
            </a:extLst>
          </p:cNvPr>
          <p:cNvSpPr txBox="1"/>
          <p:nvPr/>
        </p:nvSpPr>
        <p:spPr>
          <a:xfrm>
            <a:off x="2939602" y="5950081"/>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2</a:t>
            </a:r>
          </a:p>
        </p:txBody>
      </p:sp>
      <p:sp>
        <p:nvSpPr>
          <p:cNvPr id="20" name="TextBox 19">
            <a:extLst>
              <a:ext uri="{FF2B5EF4-FFF2-40B4-BE49-F238E27FC236}">
                <a16:creationId xmlns:a16="http://schemas.microsoft.com/office/drawing/2014/main" id="{9C2B8BFB-2E3A-4B84-6723-3D9EC790ABCC}"/>
              </a:ext>
            </a:extLst>
          </p:cNvPr>
          <p:cNvSpPr txBox="1"/>
          <p:nvPr/>
        </p:nvSpPr>
        <p:spPr>
          <a:xfrm>
            <a:off x="5341531" y="5950081"/>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3</a:t>
            </a:r>
          </a:p>
        </p:txBody>
      </p:sp>
      <p:sp>
        <p:nvSpPr>
          <p:cNvPr id="21" name="TextBox 20">
            <a:extLst>
              <a:ext uri="{FF2B5EF4-FFF2-40B4-BE49-F238E27FC236}">
                <a16:creationId xmlns:a16="http://schemas.microsoft.com/office/drawing/2014/main" id="{3214F3FC-D069-642A-F825-9493FE547344}"/>
              </a:ext>
            </a:extLst>
          </p:cNvPr>
          <p:cNvSpPr txBox="1"/>
          <p:nvPr/>
        </p:nvSpPr>
        <p:spPr>
          <a:xfrm>
            <a:off x="7751529" y="5950081"/>
            <a:ext cx="1707501" cy="261610"/>
          </a:xfrm>
          <a:prstGeom prst="rect">
            <a:avLst/>
          </a:prstGeom>
          <a:noFill/>
        </p:spPr>
        <p:txBody>
          <a:bodyPr wrap="square" rtlCol="0">
            <a:spAutoFit/>
          </a:bodyPr>
          <a:lstStyle/>
          <a:p>
            <a:pPr algn="ctr"/>
            <a:r>
              <a:rPr lang="en-US" sz="1100" dirty="0">
                <a:solidFill>
                  <a:srgbClr val="1F245C"/>
                </a:solidFill>
                <a:latin typeface="Avenir Next Medium" panose="020B0503020202020204" pitchFamily="34" charset="0"/>
                <a:ea typeface="+mn-lt"/>
                <a:cs typeface="+mn-lt"/>
              </a:rPr>
              <a:t>Step - 14</a:t>
            </a:r>
          </a:p>
        </p:txBody>
      </p:sp>
    </p:spTree>
    <p:extLst>
      <p:ext uri="{BB962C8B-B14F-4D97-AF65-F5344CB8AC3E}">
        <p14:creationId xmlns:p14="http://schemas.microsoft.com/office/powerpoint/2010/main" val="161105344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14:presetBounceEnd="60000">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14:bounceEnd="60000">
                                          <p:cBhvr additive="base">
                                            <p:cTn id="7" dur="500" fill="hold"/>
                                            <p:tgtEl>
                                              <p:spTgt spid="25"/>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2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A80D4-585C-A2B7-EA2F-DD604ED8183F}"/>
              </a:ext>
            </a:extLst>
          </p:cNvPr>
          <p:cNvSpPr>
            <a:spLocks noGrp="1"/>
          </p:cNvSpPr>
          <p:nvPr>
            <p:ph type="title"/>
          </p:nvPr>
        </p:nvSpPr>
        <p:spPr>
          <a:xfrm>
            <a:off x="201184" y="241119"/>
            <a:ext cx="1591402" cy="404241"/>
          </a:xfrm>
        </p:spPr>
        <p:txBody>
          <a:bodyPr/>
          <a:lstStyle/>
          <a:p>
            <a:pPr algn="l"/>
            <a:r>
              <a:rPr lang="en-IN" sz="1800" dirty="0">
                <a:solidFill>
                  <a:srgbClr val="1F245C"/>
                </a:solidFill>
                <a:latin typeface="Avenir Next Medium" panose="020B0503020202020204" pitchFamily="34" charset="0"/>
                <a:cs typeface="Calibri" panose="020F0502020204030204" pitchFamily="34" charset="0"/>
              </a:rPr>
              <a:t>RAW Data </a:t>
            </a:r>
          </a:p>
        </p:txBody>
      </p:sp>
      <p:graphicFrame>
        <p:nvGraphicFramePr>
          <p:cNvPr id="4" name="Table 3">
            <a:extLst>
              <a:ext uri="{FF2B5EF4-FFF2-40B4-BE49-F238E27FC236}">
                <a16:creationId xmlns:a16="http://schemas.microsoft.com/office/drawing/2014/main" id="{41FF0BE3-6D7E-4724-A719-CD9F1F3F4B18}"/>
              </a:ext>
            </a:extLst>
          </p:cNvPr>
          <p:cNvGraphicFramePr>
            <a:graphicFrameLocks noGrp="1"/>
          </p:cNvGraphicFramePr>
          <p:nvPr/>
        </p:nvGraphicFramePr>
        <p:xfrm>
          <a:off x="239083" y="762000"/>
          <a:ext cx="5275028" cy="4668994"/>
        </p:xfrm>
        <a:graphic>
          <a:graphicData uri="http://schemas.openxmlformats.org/drawingml/2006/table">
            <a:tbl>
              <a:tblPr/>
              <a:tblGrid>
                <a:gridCol w="774221">
                  <a:extLst>
                    <a:ext uri="{9D8B030D-6E8A-4147-A177-3AD203B41FA5}">
                      <a16:colId xmlns:a16="http://schemas.microsoft.com/office/drawing/2014/main" val="2161604875"/>
                    </a:ext>
                  </a:extLst>
                </a:gridCol>
                <a:gridCol w="1500269">
                  <a:extLst>
                    <a:ext uri="{9D8B030D-6E8A-4147-A177-3AD203B41FA5}">
                      <a16:colId xmlns:a16="http://schemas.microsoft.com/office/drawing/2014/main" val="2010844573"/>
                    </a:ext>
                  </a:extLst>
                </a:gridCol>
                <a:gridCol w="1500269">
                  <a:extLst>
                    <a:ext uri="{9D8B030D-6E8A-4147-A177-3AD203B41FA5}">
                      <a16:colId xmlns:a16="http://schemas.microsoft.com/office/drawing/2014/main" val="728443435"/>
                    </a:ext>
                  </a:extLst>
                </a:gridCol>
                <a:gridCol w="1500269">
                  <a:extLst>
                    <a:ext uri="{9D8B030D-6E8A-4147-A177-3AD203B41FA5}">
                      <a16:colId xmlns:a16="http://schemas.microsoft.com/office/drawing/2014/main" val="1312094629"/>
                    </a:ext>
                  </a:extLst>
                </a:gridCol>
              </a:tblGrid>
              <a:tr h="212227">
                <a:tc>
                  <a:txBody>
                    <a:bodyPr/>
                    <a:lstStyle/>
                    <a:p>
                      <a:pPr algn="ctr" fontAlgn="ctr"/>
                      <a:r>
                        <a:rPr lang="en-IN" sz="1100" b="1" i="0" u="none" strike="noStrike">
                          <a:solidFill>
                            <a:srgbClr val="FFFFFF"/>
                          </a:solidFill>
                          <a:effectLst/>
                          <a:latin typeface="Calibri" panose="020F0502020204030204" pitchFamily="34" charset="0"/>
                        </a:rPr>
                        <a:t>Sr. No</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Fields</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Type</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Details</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4003595971"/>
                  </a:ext>
                </a:extLst>
              </a:tr>
              <a:tr h="212227">
                <a:tc>
                  <a:txBody>
                    <a:bodyPr/>
                    <a:lstStyle/>
                    <a:p>
                      <a:pPr algn="ctr" fontAlgn="ctr"/>
                      <a:r>
                        <a:rPr lang="en-IN" sz="1100" b="0" i="0" u="none" strike="noStrike">
                          <a:solidFill>
                            <a:srgbClr val="000000"/>
                          </a:solidFill>
                          <a:effectLst/>
                          <a:latin typeface="Calibri" panose="020F0502020204030204" pitchFamily="34" charset="0"/>
                        </a:rPr>
                        <a:t>1</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1" i="0" u="none" strike="noStrike">
                          <a:solidFill>
                            <a:srgbClr val="000000"/>
                          </a:solidFill>
                          <a:effectLst/>
                          <a:latin typeface="Calibri" panose="020F0502020204030204" pitchFamily="34" charset="0"/>
                        </a:rPr>
                        <a:t>Number</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0" i="0" u="none" strike="noStrike">
                          <a:solidFill>
                            <a:srgbClr val="000000"/>
                          </a:solidFill>
                          <a:effectLst/>
                          <a:latin typeface="Calibri" panose="020F0502020204030204" pitchFamily="34" charset="0"/>
                        </a:rPr>
                        <a:t>Alpha Numeric</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51672802"/>
                  </a:ext>
                </a:extLst>
              </a:tr>
              <a:tr h="212227">
                <a:tc>
                  <a:txBody>
                    <a:bodyPr/>
                    <a:lstStyle/>
                    <a:p>
                      <a:pPr algn="ctr" fontAlgn="ctr"/>
                      <a:r>
                        <a:rPr lang="en-IN" sz="1100" b="0" i="0" u="none" strike="noStrike">
                          <a:solidFill>
                            <a:srgbClr val="000000"/>
                          </a:solidFill>
                          <a:effectLst/>
                          <a:latin typeface="Calibri" panose="020F0502020204030204" pitchFamily="34" charset="0"/>
                        </a:rPr>
                        <a:t>2</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Updated</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Dat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Date &amp; Ti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732849321"/>
                  </a:ext>
                </a:extLst>
              </a:tr>
              <a:tr h="212227">
                <a:tc>
                  <a:txBody>
                    <a:bodyPr/>
                    <a:lstStyle/>
                    <a:p>
                      <a:pPr algn="ctr" fontAlgn="ctr"/>
                      <a:r>
                        <a:rPr lang="en-IN" sz="1100" b="0" i="0" u="none" strike="noStrike">
                          <a:solidFill>
                            <a:srgbClr val="000000"/>
                          </a:solidFill>
                          <a:effectLst/>
                          <a:latin typeface="Calibri" panose="020F0502020204030204" pitchFamily="34" charset="0"/>
                        </a:rPr>
                        <a:t>3</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Active</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790193"/>
                  </a:ext>
                </a:extLst>
              </a:tr>
              <a:tr h="212227">
                <a:tc>
                  <a:txBody>
                    <a:bodyPr/>
                    <a:lstStyle/>
                    <a:p>
                      <a:pPr algn="ctr" fontAlgn="ctr"/>
                      <a:r>
                        <a:rPr lang="en-IN" sz="1100" b="0" i="0" u="none" strike="noStrike">
                          <a:solidFill>
                            <a:srgbClr val="000000"/>
                          </a:solidFill>
                          <a:effectLst/>
                          <a:latin typeface="Calibri" panose="020F0502020204030204" pitchFamily="34" charset="0"/>
                        </a:rPr>
                        <a:t>4</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Assigned to</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User Na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5610893"/>
                  </a:ext>
                </a:extLst>
              </a:tr>
              <a:tr h="212227">
                <a:tc>
                  <a:txBody>
                    <a:bodyPr/>
                    <a:lstStyle/>
                    <a:p>
                      <a:pPr algn="ctr" fontAlgn="ctr"/>
                      <a:r>
                        <a:rPr lang="en-IN" sz="1100" b="0" i="0" u="none" strike="noStrike">
                          <a:solidFill>
                            <a:srgbClr val="000000"/>
                          </a:solidFill>
                          <a:effectLst/>
                          <a:latin typeface="Calibri" panose="020F0502020204030204" pitchFamily="34" charset="0"/>
                        </a:rPr>
                        <a:t>5</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Assignment group</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048607582"/>
                  </a:ext>
                </a:extLst>
              </a:tr>
              <a:tr h="212227">
                <a:tc>
                  <a:txBody>
                    <a:bodyPr/>
                    <a:lstStyle/>
                    <a:p>
                      <a:pPr algn="ctr" fontAlgn="ctr"/>
                      <a:r>
                        <a:rPr lang="en-IN" sz="1100" b="0" i="0" u="none" strike="noStrike">
                          <a:solidFill>
                            <a:srgbClr val="000000"/>
                          </a:solidFill>
                          <a:effectLst/>
                          <a:latin typeface="Calibri" panose="020F0502020204030204" pitchFamily="34" charset="0"/>
                        </a:rPr>
                        <a:t>6</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Business duration</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Int</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Number</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554196073"/>
                  </a:ext>
                </a:extLst>
              </a:tr>
              <a:tr h="212227">
                <a:tc>
                  <a:txBody>
                    <a:bodyPr/>
                    <a:lstStyle/>
                    <a:p>
                      <a:pPr algn="ctr" fontAlgn="ctr"/>
                      <a:r>
                        <a:rPr lang="en-IN" sz="1100" b="0" i="0" u="none" strike="noStrike">
                          <a:solidFill>
                            <a:srgbClr val="000000"/>
                          </a:solidFill>
                          <a:effectLst/>
                          <a:latin typeface="Calibri" panose="020F0502020204030204" pitchFamily="34" charset="0"/>
                        </a:rPr>
                        <a:t>7</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Affected User</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User Na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79772214"/>
                  </a:ext>
                </a:extLst>
              </a:tr>
              <a:tr h="212227">
                <a:tc>
                  <a:txBody>
                    <a:bodyPr/>
                    <a:lstStyle/>
                    <a:p>
                      <a:pPr algn="ctr" fontAlgn="ctr"/>
                      <a:r>
                        <a:rPr lang="en-IN" sz="1100" b="0" i="0" u="none" strike="noStrike">
                          <a:solidFill>
                            <a:srgbClr val="000000"/>
                          </a:solidFill>
                          <a:effectLst/>
                          <a:latin typeface="Calibri" panose="020F0502020204030204" pitchFamily="34" charset="0"/>
                        </a:rPr>
                        <a:t>8</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Closed</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Dat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Date &amp; Ti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50033650"/>
                  </a:ext>
                </a:extLst>
              </a:tr>
              <a:tr h="212227">
                <a:tc>
                  <a:txBody>
                    <a:bodyPr/>
                    <a:lstStyle/>
                    <a:p>
                      <a:pPr algn="ctr" fontAlgn="ctr"/>
                      <a:r>
                        <a:rPr lang="en-IN" sz="1100" b="0" i="0" u="none" strike="noStrike">
                          <a:solidFill>
                            <a:srgbClr val="000000"/>
                          </a:solidFill>
                          <a:effectLst/>
                          <a:latin typeface="Calibri" panose="020F0502020204030204" pitchFamily="34" charset="0"/>
                        </a:rPr>
                        <a:t>9</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Closed By</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User Na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275696570"/>
                  </a:ext>
                </a:extLst>
              </a:tr>
              <a:tr h="212227">
                <a:tc>
                  <a:txBody>
                    <a:bodyPr/>
                    <a:lstStyle/>
                    <a:p>
                      <a:pPr algn="ctr" fontAlgn="ctr"/>
                      <a:r>
                        <a:rPr lang="en-IN" sz="1100" b="0" i="0" u="none" strike="noStrike">
                          <a:solidFill>
                            <a:srgbClr val="000000"/>
                          </a:solidFill>
                          <a:effectLst/>
                          <a:latin typeface="Calibri" panose="020F0502020204030204" pitchFamily="34" charset="0"/>
                        </a:rPr>
                        <a:t>10</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Created</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Dat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Date &amp; Ti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3805728"/>
                  </a:ext>
                </a:extLst>
              </a:tr>
              <a:tr h="212227">
                <a:tc>
                  <a:txBody>
                    <a:bodyPr/>
                    <a:lstStyle/>
                    <a:p>
                      <a:pPr algn="ctr" fontAlgn="ctr"/>
                      <a:r>
                        <a:rPr lang="en-IN" sz="1100" b="0" i="0" u="none" strike="noStrike">
                          <a:solidFill>
                            <a:srgbClr val="000000"/>
                          </a:solidFill>
                          <a:effectLst/>
                          <a:latin typeface="Calibri" panose="020F0502020204030204" pitchFamily="34" charset="0"/>
                        </a:rPr>
                        <a:t>11</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Created by</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User Na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99484575"/>
                  </a:ext>
                </a:extLst>
              </a:tr>
              <a:tr h="212227">
                <a:tc>
                  <a:txBody>
                    <a:bodyPr/>
                    <a:lstStyle/>
                    <a:p>
                      <a:pPr algn="ctr" fontAlgn="ctr"/>
                      <a:r>
                        <a:rPr lang="en-IN" sz="1100" b="0" i="0" u="none" strike="noStrike">
                          <a:solidFill>
                            <a:srgbClr val="000000"/>
                          </a:solidFill>
                          <a:effectLst/>
                          <a:latin typeface="Calibri" panose="020F0502020204030204" pitchFamily="34" charset="0"/>
                        </a:rPr>
                        <a:t>12</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Description</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dirty="0">
                          <a:solidFill>
                            <a:srgbClr val="000000"/>
                          </a:solidFill>
                          <a:effectLst/>
                          <a:latin typeface="Calibri" panose="020F0502020204030204" pitchFamily="34" charset="0"/>
                        </a:rPr>
                        <a:t> </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0255672"/>
                  </a:ext>
                </a:extLst>
              </a:tr>
              <a:tr h="212227">
                <a:tc>
                  <a:txBody>
                    <a:bodyPr/>
                    <a:lstStyle/>
                    <a:p>
                      <a:pPr algn="ctr" fontAlgn="ctr"/>
                      <a:r>
                        <a:rPr lang="en-IN" sz="1100" b="0" i="0" u="none" strike="noStrike">
                          <a:solidFill>
                            <a:srgbClr val="000000"/>
                          </a:solidFill>
                          <a:effectLst/>
                          <a:latin typeface="Calibri" panose="020F0502020204030204" pitchFamily="34" charset="0"/>
                        </a:rPr>
                        <a:t>13</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Domain</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6818791"/>
                  </a:ext>
                </a:extLst>
              </a:tr>
              <a:tr h="212227">
                <a:tc>
                  <a:txBody>
                    <a:bodyPr/>
                    <a:lstStyle/>
                    <a:p>
                      <a:pPr algn="ctr" fontAlgn="ctr"/>
                      <a:r>
                        <a:rPr lang="en-IN" sz="1100" b="0" i="0" u="none" strike="noStrike">
                          <a:solidFill>
                            <a:srgbClr val="000000"/>
                          </a:solidFill>
                          <a:effectLst/>
                          <a:latin typeface="Calibri" panose="020F0502020204030204" pitchFamily="34" charset="0"/>
                        </a:rPr>
                        <a:t>14</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Duration</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Int</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dirty="0">
                          <a:solidFill>
                            <a:srgbClr val="000000"/>
                          </a:solidFill>
                          <a:effectLst/>
                          <a:latin typeface="Calibri" panose="020F0502020204030204" pitchFamily="34" charset="0"/>
                        </a:rPr>
                        <a:t>Number</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714780332"/>
                  </a:ext>
                </a:extLst>
              </a:tr>
              <a:tr h="212227">
                <a:tc>
                  <a:txBody>
                    <a:bodyPr/>
                    <a:lstStyle/>
                    <a:p>
                      <a:pPr algn="ctr" fontAlgn="ctr"/>
                      <a:r>
                        <a:rPr lang="en-IN" sz="1100" b="0" i="0" u="none" strike="noStrike">
                          <a:solidFill>
                            <a:srgbClr val="000000"/>
                          </a:solidFill>
                          <a:effectLst/>
                          <a:latin typeface="Calibri" panose="020F0502020204030204" pitchFamily="34" charset="0"/>
                        </a:rPr>
                        <a:t>15</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Impact</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967386"/>
                  </a:ext>
                </a:extLst>
              </a:tr>
              <a:tr h="212227">
                <a:tc>
                  <a:txBody>
                    <a:bodyPr/>
                    <a:lstStyle/>
                    <a:p>
                      <a:pPr algn="ctr" fontAlgn="ctr"/>
                      <a:r>
                        <a:rPr lang="en-IN" sz="1100" b="0" i="0" u="none" strike="noStrike">
                          <a:solidFill>
                            <a:srgbClr val="000000"/>
                          </a:solidFill>
                          <a:effectLst/>
                          <a:latin typeface="Calibri" panose="020F0502020204030204" pitchFamily="34" charset="0"/>
                        </a:rPr>
                        <a:t>16</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Incident Type</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5110818"/>
                  </a:ext>
                </a:extLst>
              </a:tr>
              <a:tr h="212227">
                <a:tc>
                  <a:txBody>
                    <a:bodyPr/>
                    <a:lstStyle/>
                    <a:p>
                      <a:pPr algn="ctr" fontAlgn="ctr"/>
                      <a:r>
                        <a:rPr lang="en-IN" sz="1100" b="0" i="0" u="none" strike="noStrike">
                          <a:solidFill>
                            <a:srgbClr val="000000"/>
                          </a:solidFill>
                          <a:effectLst/>
                          <a:latin typeface="Calibri" panose="020F0502020204030204" pitchFamily="34" charset="0"/>
                        </a:rPr>
                        <a:t>17</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Incident state</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7493"/>
                  </a:ext>
                </a:extLst>
              </a:tr>
              <a:tr h="212227">
                <a:tc>
                  <a:txBody>
                    <a:bodyPr/>
                    <a:lstStyle/>
                    <a:p>
                      <a:pPr algn="ctr" fontAlgn="ctr"/>
                      <a:r>
                        <a:rPr lang="en-IN" sz="1100" b="0" i="0" u="none" strike="noStrike">
                          <a:solidFill>
                            <a:srgbClr val="000000"/>
                          </a:solidFill>
                          <a:effectLst/>
                          <a:latin typeface="Calibri" panose="020F0502020204030204" pitchFamily="34" charset="0"/>
                        </a:rPr>
                        <a:t>18</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Made SLA</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171229"/>
                  </a:ext>
                </a:extLst>
              </a:tr>
              <a:tr h="212227">
                <a:tc>
                  <a:txBody>
                    <a:bodyPr/>
                    <a:lstStyle/>
                    <a:p>
                      <a:pPr algn="ctr" fontAlgn="ctr"/>
                      <a:r>
                        <a:rPr lang="en-IN" sz="1100" b="0" i="0" u="none" strike="noStrike">
                          <a:solidFill>
                            <a:srgbClr val="000000"/>
                          </a:solidFill>
                          <a:effectLst/>
                          <a:latin typeface="Calibri" panose="020F0502020204030204" pitchFamily="34" charset="0"/>
                        </a:rPr>
                        <a:t>19</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Requester</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User Na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28908143"/>
                  </a:ext>
                </a:extLst>
              </a:tr>
              <a:tr h="212227">
                <a:tc>
                  <a:txBody>
                    <a:bodyPr/>
                    <a:lstStyle/>
                    <a:p>
                      <a:pPr algn="ctr" fontAlgn="ctr"/>
                      <a:r>
                        <a:rPr lang="en-IN" sz="1100" b="0" i="0" u="none" strike="noStrike">
                          <a:solidFill>
                            <a:srgbClr val="000000"/>
                          </a:solidFill>
                          <a:effectLst/>
                          <a:latin typeface="Calibri" panose="020F0502020204030204" pitchFamily="34" charset="0"/>
                        </a:rPr>
                        <a:t>20</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Resolve time</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Dat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Date &amp; Time</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913734185"/>
                  </a:ext>
                </a:extLst>
              </a:tr>
              <a:tr h="212227">
                <a:tc>
                  <a:txBody>
                    <a:bodyPr/>
                    <a:lstStyle/>
                    <a:p>
                      <a:pPr algn="ctr" fontAlgn="ctr"/>
                      <a:r>
                        <a:rPr lang="en-IN" sz="1100" b="0" i="0" u="none" strike="noStrike" dirty="0">
                          <a:solidFill>
                            <a:srgbClr val="000000"/>
                          </a:solidFill>
                          <a:effectLst/>
                          <a:latin typeface="Calibri" panose="020F0502020204030204" pitchFamily="34" charset="0"/>
                        </a:rPr>
                        <a:t>21</a:t>
                      </a:r>
                    </a:p>
                  </a:txBody>
                  <a:tcPr marL="9185"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1" i="0" u="none" strike="noStrike">
                          <a:solidFill>
                            <a:srgbClr val="000000"/>
                          </a:solidFill>
                          <a:effectLst/>
                          <a:latin typeface="Calibri" panose="020F0502020204030204" pitchFamily="34" charset="0"/>
                        </a:rPr>
                        <a:t>State</a:t>
                      </a:r>
                    </a:p>
                  </a:txBody>
                  <a:tcPr marL="82667"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IN" sz="1100" b="0" i="0" u="none" strike="noStrike" dirty="0">
                          <a:solidFill>
                            <a:srgbClr val="000000"/>
                          </a:solidFill>
                          <a:effectLst/>
                          <a:latin typeface="Calibri" panose="020F0502020204030204" pitchFamily="34" charset="0"/>
                        </a:rPr>
                        <a:t>Category</a:t>
                      </a:r>
                    </a:p>
                  </a:txBody>
                  <a:tcPr marL="165334" marR="9185" marT="9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054742354"/>
                  </a:ext>
                </a:extLst>
              </a:tr>
            </a:tbl>
          </a:graphicData>
        </a:graphic>
      </p:graphicFrame>
      <p:pic>
        <p:nvPicPr>
          <p:cNvPr id="6" name="Picture 5">
            <a:extLst>
              <a:ext uri="{FF2B5EF4-FFF2-40B4-BE49-F238E27FC236}">
                <a16:creationId xmlns:a16="http://schemas.microsoft.com/office/drawing/2014/main" id="{E6A3FDEC-CD40-9E21-7793-E35818CAE4FA}"/>
              </a:ext>
            </a:extLst>
          </p:cNvPr>
          <p:cNvPicPr>
            <a:picLocks noChangeAspect="1"/>
          </p:cNvPicPr>
          <p:nvPr/>
        </p:nvPicPr>
        <p:blipFill>
          <a:blip r:embed="rId3"/>
          <a:stretch>
            <a:fillRect/>
          </a:stretch>
        </p:blipFill>
        <p:spPr>
          <a:xfrm>
            <a:off x="996885" y="5749754"/>
            <a:ext cx="3648584" cy="771633"/>
          </a:xfrm>
          <a:prstGeom prst="rect">
            <a:avLst/>
          </a:prstGeom>
        </p:spPr>
      </p:pic>
      <p:pic>
        <p:nvPicPr>
          <p:cNvPr id="10" name="Picture 9">
            <a:extLst>
              <a:ext uri="{FF2B5EF4-FFF2-40B4-BE49-F238E27FC236}">
                <a16:creationId xmlns:a16="http://schemas.microsoft.com/office/drawing/2014/main" id="{6958C418-FE0F-D218-51E0-890F723D88E5}"/>
              </a:ext>
            </a:extLst>
          </p:cNvPr>
          <p:cNvPicPr>
            <a:picLocks noChangeAspect="1"/>
          </p:cNvPicPr>
          <p:nvPr/>
        </p:nvPicPr>
        <p:blipFill>
          <a:blip r:embed="rId4"/>
          <a:stretch>
            <a:fillRect/>
          </a:stretch>
        </p:blipFill>
        <p:spPr>
          <a:xfrm>
            <a:off x="8370564" y="4687940"/>
            <a:ext cx="2572109" cy="743054"/>
          </a:xfrm>
          <a:prstGeom prst="rect">
            <a:avLst/>
          </a:prstGeom>
        </p:spPr>
      </p:pic>
      <p:graphicFrame>
        <p:nvGraphicFramePr>
          <p:cNvPr id="11" name="Table 10">
            <a:extLst>
              <a:ext uri="{FF2B5EF4-FFF2-40B4-BE49-F238E27FC236}">
                <a16:creationId xmlns:a16="http://schemas.microsoft.com/office/drawing/2014/main" id="{52F4AAFE-3EC1-E020-2FC2-6B2458C5A3F0}"/>
              </a:ext>
            </a:extLst>
          </p:cNvPr>
          <p:cNvGraphicFramePr>
            <a:graphicFrameLocks noGrp="1"/>
          </p:cNvGraphicFramePr>
          <p:nvPr/>
        </p:nvGraphicFramePr>
        <p:xfrm>
          <a:off x="6691746" y="2506028"/>
          <a:ext cx="4864100" cy="1788885"/>
        </p:xfrm>
        <a:graphic>
          <a:graphicData uri="http://schemas.openxmlformats.org/drawingml/2006/table">
            <a:tbl>
              <a:tblPr/>
              <a:tblGrid>
                <a:gridCol w="713909">
                  <a:extLst>
                    <a:ext uri="{9D8B030D-6E8A-4147-A177-3AD203B41FA5}">
                      <a16:colId xmlns:a16="http://schemas.microsoft.com/office/drawing/2014/main" val="1672388184"/>
                    </a:ext>
                  </a:extLst>
                </a:gridCol>
                <a:gridCol w="1383397">
                  <a:extLst>
                    <a:ext uri="{9D8B030D-6E8A-4147-A177-3AD203B41FA5}">
                      <a16:colId xmlns:a16="http://schemas.microsoft.com/office/drawing/2014/main" val="308462513"/>
                    </a:ext>
                  </a:extLst>
                </a:gridCol>
                <a:gridCol w="1383397">
                  <a:extLst>
                    <a:ext uri="{9D8B030D-6E8A-4147-A177-3AD203B41FA5}">
                      <a16:colId xmlns:a16="http://schemas.microsoft.com/office/drawing/2014/main" val="3996940650"/>
                    </a:ext>
                  </a:extLst>
                </a:gridCol>
                <a:gridCol w="1383397">
                  <a:extLst>
                    <a:ext uri="{9D8B030D-6E8A-4147-A177-3AD203B41FA5}">
                      <a16:colId xmlns:a16="http://schemas.microsoft.com/office/drawing/2014/main" val="3722923026"/>
                    </a:ext>
                  </a:extLst>
                </a:gridCol>
              </a:tblGrid>
              <a:tr h="198765">
                <a:tc>
                  <a:txBody>
                    <a:bodyPr/>
                    <a:lstStyle/>
                    <a:p>
                      <a:pPr algn="ctr" fontAlgn="ctr"/>
                      <a:r>
                        <a:rPr lang="en-IN" sz="1100" b="1" i="0" u="none" strike="noStrike">
                          <a:solidFill>
                            <a:srgbClr val="FFFFFF"/>
                          </a:solidFill>
                          <a:effectLst/>
                          <a:latin typeface="Calibri" panose="020F0502020204030204" pitchFamily="34" charset="0"/>
                        </a:rPr>
                        <a:t>Sr.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Fiel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IN" sz="1100" b="1" i="0" u="none" strike="noStrike">
                          <a:solidFill>
                            <a:srgbClr val="FFFFFF"/>
                          </a:solidFill>
                          <a:effectLst/>
                          <a:latin typeface="Calibri" panose="020F0502020204030204" pitchFamily="34" charset="0"/>
                        </a:rPr>
                        <a:t>Detail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820907031"/>
                  </a:ext>
                </a:extLst>
              </a:tr>
              <a:tr h="198765">
                <a:tc>
                  <a:txBody>
                    <a:bodyPr/>
                    <a:lstStyle/>
                    <a:p>
                      <a:pPr algn="ctr" fontAlgn="ctr"/>
                      <a:r>
                        <a:rPr lang="en-IN" sz="11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1" i="0" u="none" strike="noStrike">
                          <a:solidFill>
                            <a:srgbClr val="000000"/>
                          </a:solidFill>
                          <a:effectLst/>
                          <a:latin typeface="Calibri" panose="020F0502020204030204" pitchFamily="34" charset="0"/>
                        </a:rPr>
                        <a:t>Active</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487224094"/>
                  </a:ext>
                </a:extLst>
              </a:tr>
              <a:tr h="198765">
                <a:tc>
                  <a:txBody>
                    <a:bodyPr/>
                    <a:lstStyle/>
                    <a:p>
                      <a:pPr algn="ctr" fontAlgn="ctr"/>
                      <a:r>
                        <a:rPr lang="en-IN"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1" i="0" u="none" strike="noStrike">
                          <a:solidFill>
                            <a:srgbClr val="000000"/>
                          </a:solidFill>
                          <a:effectLst/>
                          <a:latin typeface="Calibri" panose="020F0502020204030204" pitchFamily="34" charset="0"/>
                        </a:rPr>
                        <a:t>Created</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Date</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Date &amp; Time</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425511045"/>
                  </a:ext>
                </a:extLst>
              </a:tr>
              <a:tr h="198765">
                <a:tc>
                  <a:txBody>
                    <a:bodyPr/>
                    <a:lstStyle/>
                    <a:p>
                      <a:pPr algn="ctr" fontAlgn="ctr"/>
                      <a:r>
                        <a:rPr lang="en-IN" sz="1100" b="0" i="0" u="none" strike="noStrike">
                          <a:solidFill>
                            <a:srgbClr val="FFFFFF"/>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1" i="0" u="none" strike="noStrike">
                          <a:solidFill>
                            <a:srgbClr val="FFFFFF"/>
                          </a:solidFill>
                          <a:effectLst/>
                          <a:latin typeface="Calibri" panose="020F0502020204030204" pitchFamily="34" charset="0"/>
                        </a:rPr>
                        <a:t>Description</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0" i="0" u="none" strike="noStrike">
                          <a:solidFill>
                            <a:srgbClr val="FFFFFF"/>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0" i="0" u="none" strike="noStrike">
                          <a:solidFill>
                            <a:srgbClr val="FFFFFF"/>
                          </a:solidFill>
                          <a:effectLst/>
                          <a:latin typeface="Calibri" panose="020F0502020204030204" pitchFamily="34" charset="0"/>
                        </a:rPr>
                        <a:t> </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979724737"/>
                  </a:ext>
                </a:extLst>
              </a:tr>
              <a:tr h="198765">
                <a:tc>
                  <a:txBody>
                    <a:bodyPr/>
                    <a:lstStyle/>
                    <a:p>
                      <a:pPr algn="ctr" fontAlgn="ctr"/>
                      <a:r>
                        <a:rPr lang="en-IN" sz="1100" b="0" i="0" u="none" strike="noStrike">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1" i="0" u="none" strike="noStrike">
                          <a:solidFill>
                            <a:srgbClr val="000000"/>
                          </a:solidFill>
                          <a:effectLst/>
                          <a:latin typeface="Calibri" panose="020F0502020204030204" pitchFamily="34" charset="0"/>
                        </a:rPr>
                        <a:t>Domain</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65228214"/>
                  </a:ext>
                </a:extLst>
              </a:tr>
              <a:tr h="198765">
                <a:tc>
                  <a:txBody>
                    <a:bodyPr/>
                    <a:lstStyle/>
                    <a:p>
                      <a:pPr algn="ctr" fontAlgn="ctr"/>
                      <a:r>
                        <a:rPr lang="en-IN" sz="1100" b="0" i="0" u="none" strike="noStrike">
                          <a:solidFill>
                            <a:srgbClr val="FFFFFF"/>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1" i="0" u="none" strike="noStrike">
                          <a:solidFill>
                            <a:srgbClr val="FFFFFF"/>
                          </a:solidFill>
                          <a:effectLst/>
                          <a:latin typeface="Calibri" panose="020F0502020204030204" pitchFamily="34" charset="0"/>
                        </a:rPr>
                        <a:t>Impact</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0" i="0" u="none" strike="noStrike">
                          <a:solidFill>
                            <a:srgbClr val="FFFFFF"/>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l" fontAlgn="ctr"/>
                      <a:r>
                        <a:rPr lang="en-IN" sz="1100" b="0" i="0" u="none" strike="noStrike">
                          <a:solidFill>
                            <a:srgbClr val="FFFFFF"/>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1008294004"/>
                  </a:ext>
                </a:extLst>
              </a:tr>
              <a:tr h="198765">
                <a:tc>
                  <a:txBody>
                    <a:bodyPr/>
                    <a:lstStyle/>
                    <a:p>
                      <a:pPr algn="ctr" fontAlgn="ctr"/>
                      <a:r>
                        <a:rPr lang="en-IN" sz="1100" b="0"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Incident Type</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dirty="0">
                          <a:solidFill>
                            <a:srgbClr val="000000"/>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44879135"/>
                  </a:ext>
                </a:extLst>
              </a:tr>
              <a:tr h="198765">
                <a:tc>
                  <a:txBody>
                    <a:bodyPr/>
                    <a:lstStyle/>
                    <a:p>
                      <a:pPr algn="ctr" fontAlgn="ctr"/>
                      <a:r>
                        <a:rPr lang="en-IN" sz="1100" b="0" i="0" u="none" strike="noStrike">
                          <a:solidFill>
                            <a:srgbClr val="000000"/>
                          </a:solidFill>
                          <a:effectLst/>
                          <a:latin typeface="Calibri" panose="020F0502020204030204" pitchFamily="34" charset="0"/>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Incident state</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a:solidFill>
                            <a:srgbClr val="000000"/>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492508099"/>
                  </a:ext>
                </a:extLst>
              </a:tr>
              <a:tr h="198765">
                <a:tc>
                  <a:txBody>
                    <a:bodyPr/>
                    <a:lstStyle/>
                    <a:p>
                      <a:pPr algn="ctr" fontAlgn="ctr"/>
                      <a:r>
                        <a:rPr lang="en-IN" sz="1100" b="0"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1" i="0" u="none" strike="noStrike">
                          <a:solidFill>
                            <a:srgbClr val="000000"/>
                          </a:solidFill>
                          <a:effectLst/>
                          <a:latin typeface="Calibri" panose="020F0502020204030204" pitchFamily="34" charset="0"/>
                        </a:rPr>
                        <a:t>Made SLA</a:t>
                      </a:r>
                    </a:p>
                  </a:txBody>
                  <a:tcPr marL="857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dirty="0">
                          <a:solidFill>
                            <a:srgbClr val="000000"/>
                          </a:solidFill>
                          <a:effectLst/>
                          <a:latin typeface="Calibri" panose="020F0502020204030204" pitchFamily="34" charset="0"/>
                        </a:rPr>
                        <a:t>String</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IN" sz="1100" b="0" i="0" u="none" strike="noStrike" dirty="0">
                          <a:solidFill>
                            <a:srgbClr val="000000"/>
                          </a:solidFill>
                          <a:effectLst/>
                          <a:latin typeface="Calibri" panose="020F0502020204030204" pitchFamily="34" charset="0"/>
                        </a:rPr>
                        <a:t>Categor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105682466"/>
                  </a:ext>
                </a:extLst>
              </a:tr>
            </a:tbl>
          </a:graphicData>
        </a:graphic>
      </p:graphicFrame>
      <p:sp>
        <p:nvSpPr>
          <p:cNvPr id="12" name="Arrow: Right 11">
            <a:extLst>
              <a:ext uri="{FF2B5EF4-FFF2-40B4-BE49-F238E27FC236}">
                <a16:creationId xmlns:a16="http://schemas.microsoft.com/office/drawing/2014/main" id="{69416487-8A2A-9389-6873-3D1188D60799}"/>
              </a:ext>
            </a:extLst>
          </p:cNvPr>
          <p:cNvSpPr/>
          <p:nvPr/>
        </p:nvSpPr>
        <p:spPr>
          <a:xfrm>
            <a:off x="5777345" y="3551859"/>
            <a:ext cx="637310" cy="32741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193167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Regex Tutorial | Regular Expression - Javatpoint">
            <a:extLst>
              <a:ext uri="{FF2B5EF4-FFF2-40B4-BE49-F238E27FC236}">
                <a16:creationId xmlns:a16="http://schemas.microsoft.com/office/drawing/2014/main" id="{8721B8F4-FD3F-DA28-0327-96E1953DB9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2167" y="1304524"/>
            <a:ext cx="1297176" cy="129717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Anaconda | Open Source">
            <a:extLst>
              <a:ext uri="{FF2B5EF4-FFF2-40B4-BE49-F238E27FC236}">
                <a16:creationId xmlns:a16="http://schemas.microsoft.com/office/drawing/2014/main" id="{F1D5CC75-C66D-5DCA-5B1F-48786EFF1D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1117" y="1799789"/>
            <a:ext cx="1668607" cy="54208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The Stanford Natural Language Processing Group">
            <a:extLst>
              <a:ext uri="{FF2B5EF4-FFF2-40B4-BE49-F238E27FC236}">
                <a16:creationId xmlns:a16="http://schemas.microsoft.com/office/drawing/2014/main" id="{2F35B96F-F2BF-B794-4A75-59474A4CAD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4133" y="881549"/>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a:extLst>
              <a:ext uri="{FF2B5EF4-FFF2-40B4-BE49-F238E27FC236}">
                <a16:creationId xmlns:a16="http://schemas.microsoft.com/office/drawing/2014/main" id="{E527A7C2-9A86-0163-4477-3655F437B4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9000" y="2794804"/>
            <a:ext cx="2447925" cy="14859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a:extLst>
              <a:ext uri="{FF2B5EF4-FFF2-40B4-BE49-F238E27FC236}">
                <a16:creationId xmlns:a16="http://schemas.microsoft.com/office/drawing/2014/main" id="{BB366D62-30ED-68D5-4E9B-83109F1F5F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9864" y="2794804"/>
            <a:ext cx="2447925" cy="16573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a:extLst>
              <a:ext uri="{FF2B5EF4-FFF2-40B4-BE49-F238E27FC236}">
                <a16:creationId xmlns:a16="http://schemas.microsoft.com/office/drawing/2014/main" id="{A18199FA-E4B5-6865-C777-34A8BA9438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22970" y="4921629"/>
            <a:ext cx="1787239" cy="9637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Joblib: running Python functions as pipeline jobs — joblib 1.2.0.dev0  documentation">
            <a:extLst>
              <a:ext uri="{FF2B5EF4-FFF2-40B4-BE49-F238E27FC236}">
                <a16:creationId xmlns:a16="http://schemas.microsoft.com/office/drawing/2014/main" id="{19EF4E43-1E1B-A976-2F22-BDAD5EDED7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37072" y="2996614"/>
            <a:ext cx="1257211" cy="116050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GitHub - mwaskom/seaborn: Statistical data visualization in Python">
            <a:extLst>
              <a:ext uri="{FF2B5EF4-FFF2-40B4-BE49-F238E27FC236}">
                <a16:creationId xmlns:a16="http://schemas.microsoft.com/office/drawing/2014/main" id="{7304A8B7-87AC-1F80-66A7-06E8D1473DA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43826" y="4852102"/>
            <a:ext cx="2668018" cy="105562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93422FC-95E3-05E9-C3BF-F57FDEF21334}"/>
              </a:ext>
            </a:extLst>
          </p:cNvPr>
          <p:cNvSpPr txBox="1"/>
          <p:nvPr/>
        </p:nvSpPr>
        <p:spPr>
          <a:xfrm>
            <a:off x="321288" y="341222"/>
            <a:ext cx="2058230" cy="388696"/>
          </a:xfrm>
          <a:prstGeom prst="rect">
            <a:avLst/>
          </a:prstGeom>
          <a:noFill/>
        </p:spPr>
        <p:txBody>
          <a:bodyPr wrap="square">
            <a:spAutoFit/>
          </a:bodyPr>
          <a:lstStyle/>
          <a:p>
            <a:pPr>
              <a:lnSpc>
                <a:spcPct val="107000"/>
              </a:lnSpc>
              <a:spcAft>
                <a:spcPts val="800"/>
              </a:spcAft>
            </a:pPr>
            <a:r>
              <a:rPr lang="en-IN" dirty="0">
                <a:solidFill>
                  <a:srgbClr val="1F245C"/>
                </a:solidFill>
                <a:effectLst/>
                <a:latin typeface="Avenir Next Medium" panose="020B0503020202020204" pitchFamily="34" charset="0"/>
                <a:ea typeface="Times New Roman" panose="02020603050405020304" pitchFamily="18" charset="0"/>
                <a:cs typeface="Times New Roman" panose="02020603050405020304" pitchFamily="18" charset="0"/>
              </a:rPr>
              <a:t> </a:t>
            </a:r>
            <a:r>
              <a:rPr lang="en-IN" cap="all" dirty="0">
                <a:solidFill>
                  <a:srgbClr val="1F245C"/>
                </a:solidFill>
                <a:latin typeface="Avenir Next Medium" panose="020B0503020202020204" pitchFamily="34" charset="0"/>
                <a:ea typeface="+mj-ea"/>
                <a:cs typeface="Calibri" panose="020F0502020204030204" pitchFamily="34" charset="0"/>
              </a:rPr>
              <a:t>Libraries Used </a:t>
            </a:r>
          </a:p>
        </p:txBody>
      </p:sp>
    </p:spTree>
    <p:extLst>
      <p:ext uri="{BB962C8B-B14F-4D97-AF65-F5344CB8AC3E}">
        <p14:creationId xmlns:p14="http://schemas.microsoft.com/office/powerpoint/2010/main" val="517772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124C9-9D14-8466-794B-CBB6150064CC}"/>
              </a:ext>
            </a:extLst>
          </p:cNvPr>
          <p:cNvSpPr>
            <a:spLocks noGrp="1"/>
          </p:cNvSpPr>
          <p:nvPr>
            <p:ph type="title"/>
          </p:nvPr>
        </p:nvSpPr>
        <p:spPr>
          <a:xfrm>
            <a:off x="365370" y="228599"/>
            <a:ext cx="3081356" cy="335268"/>
          </a:xfrm>
        </p:spPr>
        <p:txBody>
          <a:bodyPr/>
          <a:lstStyle/>
          <a:p>
            <a:pPr algn="l"/>
            <a:r>
              <a:rPr lang="en-IN" sz="1800" dirty="0">
                <a:solidFill>
                  <a:srgbClr val="1F245C"/>
                </a:solidFill>
                <a:effectLst/>
                <a:latin typeface="Avenir Next Medium" panose="020B0503020202020204" pitchFamily="34" charset="0"/>
                <a:ea typeface="Times New Roman" panose="02020603050405020304" pitchFamily="18" charset="0"/>
                <a:cs typeface="Calibri" panose="020F0502020204030204" pitchFamily="34" charset="0"/>
              </a:rPr>
              <a:t>Data Pre-processing </a:t>
            </a:r>
            <a:endParaRPr lang="en-IN" sz="1800" dirty="0">
              <a:solidFill>
                <a:srgbClr val="1F245C"/>
              </a:solidFill>
              <a:latin typeface="Avenir Next Medium" panose="020B050302020202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785216F7-65E4-CF69-3F5F-B5994F846EFD}"/>
              </a:ext>
            </a:extLst>
          </p:cNvPr>
          <p:cNvSpPr txBox="1"/>
          <p:nvPr/>
        </p:nvSpPr>
        <p:spPr>
          <a:xfrm>
            <a:off x="365370" y="1047122"/>
            <a:ext cx="5093321" cy="307777"/>
          </a:xfrm>
          <a:prstGeom prst="rect">
            <a:avLst/>
          </a:prstGeom>
          <a:noFill/>
        </p:spPr>
        <p:txBody>
          <a:bodyPr wrap="square">
            <a:spAutoFit/>
          </a:bodyPr>
          <a:lstStyle/>
          <a:p>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Libraries </a:t>
            </a:r>
            <a:r>
              <a:rPr lang="en-IN" sz="1400" dirty="0">
                <a:solidFill>
                  <a:srgbClr val="242424"/>
                </a:solidFill>
                <a:latin typeface="Avenir Next" panose="020B0503020202020204" pitchFamily="34" charset="0"/>
                <a:ea typeface="Times New Roman" panose="02020603050405020304" pitchFamily="18" charset="0"/>
                <a:cs typeface="Calibri" panose="020F0502020204030204" pitchFamily="34" charset="0"/>
              </a:rPr>
              <a:t>u</a:t>
            </a: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sed: Regex, NLTK and Stanford NER Library</a:t>
            </a:r>
            <a:endParaRPr lang="en-IN" sz="1400" dirty="0">
              <a:latin typeface="Avenir Next" panose="020B050302020202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6A57E6A-9294-9576-348B-1E90324FB1E5}"/>
              </a:ext>
            </a:extLst>
          </p:cNvPr>
          <p:cNvSpPr txBox="1"/>
          <p:nvPr/>
        </p:nvSpPr>
        <p:spPr>
          <a:xfrm>
            <a:off x="365370" y="1782401"/>
            <a:ext cx="10695708" cy="1897955"/>
          </a:xfrm>
          <a:prstGeom prst="rect">
            <a:avLst/>
          </a:prstGeom>
          <a:noFill/>
        </p:spPr>
        <p:txBody>
          <a:bodyPr wrap="square">
            <a:spAutoFit/>
          </a:bodyPr>
          <a:lstStyle/>
          <a:p>
            <a:pPr lvl="0">
              <a:spcAft>
                <a:spcPts val="800"/>
              </a:spcAft>
              <a:buSzPts val="1000"/>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Pre-processing</a:t>
            </a:r>
            <a:r>
              <a:rPr lang="en-IN" sz="1400" dirty="0">
                <a:solidFill>
                  <a:srgbClr val="242424"/>
                </a:solidFill>
                <a:latin typeface="Avenir Next" panose="020B0503020202020204" pitchFamily="34" charset="0"/>
                <a:ea typeface="Times New Roman" panose="02020603050405020304" pitchFamily="18" charset="0"/>
                <a:cs typeface="Calibri" panose="020F0502020204030204" pitchFamily="34" charset="0"/>
              </a:rPr>
              <a:t> s</a:t>
            </a: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teps: </a:t>
            </a:r>
          </a:p>
          <a:p>
            <a:pPr marL="342900" lvl="0" indent="-342900">
              <a:spcAft>
                <a:spcPts val="800"/>
              </a:spcAft>
              <a:buSzPts val="1000"/>
              <a:buFont typeface="Symbol" panose="05050102010706020507" pitchFamily="18" charset="2"/>
              <a:buChar char=""/>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Analysis was done in which we removed Null values. </a:t>
            </a:r>
            <a:endParaRPr lang="en-IN" sz="1400" dirty="0">
              <a:effectLst/>
              <a:latin typeface="Avenir Next" panose="020B0503020202020204" pitchFamily="34" charset="0"/>
              <a:ea typeface="Calibri" panose="020F0502020204030204" pitchFamily="34" charset="0"/>
              <a:cs typeface="Calibri" panose="020F0502020204030204" pitchFamily="34" charset="0"/>
            </a:endParaRPr>
          </a:p>
          <a:p>
            <a:pPr marL="342900" lvl="0" indent="-342900">
              <a:spcAft>
                <a:spcPts val="800"/>
              </a:spcAft>
              <a:buSzPts val="1000"/>
              <a:buFont typeface="Symbol" panose="05050102010706020507" pitchFamily="18" charset="2"/>
              <a:buChar char=""/>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Data type conversion (object to string for description column as it is textual data)  </a:t>
            </a:r>
            <a:endParaRPr lang="en-IN" sz="1400" dirty="0">
              <a:effectLst/>
              <a:latin typeface="Avenir Next" panose="020B0503020202020204" pitchFamily="34" charset="0"/>
              <a:ea typeface="Calibri" panose="020F0502020204030204" pitchFamily="34" charset="0"/>
              <a:cs typeface="Calibri" panose="020F0502020204030204" pitchFamily="34" charset="0"/>
            </a:endParaRPr>
          </a:p>
          <a:p>
            <a:pPr marL="342900" indent="-342900">
              <a:spcAft>
                <a:spcPts val="800"/>
              </a:spcAft>
              <a:buSzPts val="1000"/>
              <a:buFont typeface="Symbol" panose="05050102010706020507" pitchFamily="18" charset="2"/>
              <a:buChar char=""/>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Removal of personal info such as email-id, employee id and contact number from description column using regex library</a:t>
            </a:r>
            <a:endParaRPr lang="en-IN" sz="1400" dirty="0">
              <a:effectLst/>
              <a:latin typeface="Avenir Next" panose="020B0503020202020204" pitchFamily="34" charset="0"/>
              <a:ea typeface="Calibri" panose="020F0502020204030204" pitchFamily="34" charset="0"/>
              <a:cs typeface="Calibri" panose="020F0502020204030204" pitchFamily="34" charset="0"/>
            </a:endParaRPr>
          </a:p>
          <a:p>
            <a:pPr marL="342900" lvl="0" indent="-342900">
              <a:spcAft>
                <a:spcPts val="800"/>
              </a:spcAft>
              <a:buSzPts val="1000"/>
              <a:buFont typeface="Symbol" panose="05050102010706020507" pitchFamily="18" charset="2"/>
              <a:buChar char=""/>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Extracting relevant information for incidents from Description column after identifying the patterns.</a:t>
            </a:r>
            <a:endParaRPr lang="en-IN" sz="1400" dirty="0">
              <a:effectLst/>
              <a:latin typeface="Avenir Next" panose="020B0503020202020204" pitchFamily="34" charset="0"/>
              <a:ea typeface="Calibri" panose="020F0502020204030204" pitchFamily="34" charset="0"/>
              <a:cs typeface="Calibri" panose="020F0502020204030204" pitchFamily="34" charset="0"/>
            </a:endParaRPr>
          </a:p>
          <a:p>
            <a:pPr marL="342900" lvl="0" indent="-342900">
              <a:spcAft>
                <a:spcPts val="800"/>
              </a:spcAft>
              <a:buSzPts val="1000"/>
              <a:buFont typeface="Symbol" panose="05050102010706020507" pitchFamily="18" charset="2"/>
              <a:buChar char=""/>
              <a:tabLst>
                <a:tab pos="228600" algn="l"/>
              </a:tabLst>
            </a:pPr>
            <a:r>
              <a:rPr lang="en-IN" sz="1400" dirty="0">
                <a:solidFill>
                  <a:srgbClr val="242424"/>
                </a:solidFill>
                <a:effectLst/>
                <a:latin typeface="Avenir Next" panose="020B0503020202020204" pitchFamily="34" charset="0"/>
                <a:ea typeface="Times New Roman" panose="02020603050405020304" pitchFamily="18" charset="0"/>
                <a:cs typeface="Calibri" panose="020F0502020204030204" pitchFamily="34" charset="0"/>
              </a:rPr>
              <a:t>Cleaned the textual data by applying the NLP technique using NLTK library</a:t>
            </a:r>
            <a:endParaRPr lang="en-IN" sz="1400" dirty="0">
              <a:effectLst/>
              <a:latin typeface="Avenir Next" panose="020B050302020202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1C03E34C-0ECD-F8A2-B677-169A4C22204A}"/>
              </a:ext>
            </a:extLst>
          </p:cNvPr>
          <p:cNvSpPr/>
          <p:nvPr/>
        </p:nvSpPr>
        <p:spPr>
          <a:xfrm>
            <a:off x="267589" y="4105996"/>
            <a:ext cx="3998812" cy="2128927"/>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0" lang="en-US" altLang="en-US" sz="1200" i="0" u="none" strike="noStrike" cap="none" normalizeH="0" baseline="0" dirty="0">
              <a:ln>
                <a:noFill/>
              </a:ln>
              <a:solidFill>
                <a:srgbClr val="000000"/>
              </a:solidFill>
              <a:effectLst/>
              <a:cs typeface="Times New Roman" panose="02020603050405020304" pitchFamily="18" charset="0"/>
            </a:endParaRPr>
          </a:p>
          <a:p>
            <a:pPr algn="ctr"/>
            <a:r>
              <a:rPr kumimoji="0" lang="en-US" altLang="en-US" sz="1200" i="0" u="none" strike="noStrike" cap="none" normalizeH="0" baseline="0" dirty="0">
                <a:ln>
                  <a:noFill/>
                </a:ln>
                <a:solidFill>
                  <a:srgbClr val="000000"/>
                </a:solidFill>
                <a:effectLst/>
                <a:cs typeface="Times New Roman" panose="02020603050405020304" pitchFamily="18" charset="0"/>
              </a:rPr>
              <a:t>Username: Mackey Mi\nEmployee/Agent ID: TEMP\nEmail Address: MMcoiu@world.com\nContact Number: 1234563984\nNew or Existing Issue: New \nRemote or Office based user: remote\nIs the issue for yourself or being raised on behalf of someone else? Self\nHardware or Software issue: Software \nServer Name: n/a \nProblem: Cisco jabber performance issue</a:t>
            </a:r>
            <a:r>
              <a:rPr kumimoji="0" lang="en-US" altLang="en-US" sz="1200" i="0" u="none" strike="noStrike" cap="none" normalizeH="0" baseline="0" dirty="0">
                <a:ln>
                  <a:noFill/>
                </a:ln>
                <a:solidFill>
                  <a:schemeClr val="tx1"/>
                </a:solidFill>
                <a:effectLst/>
                <a:cs typeface="Times New Roman" panose="02020603050405020304" pitchFamily="18" charset="0"/>
              </a:rPr>
              <a:t> </a:t>
            </a:r>
          </a:p>
          <a:p>
            <a:pPr algn="ctr"/>
            <a:endParaRPr lang="en-IN" sz="1100" dirty="0">
              <a:cs typeface="Times New Roman" panose="02020603050405020304" pitchFamily="18" charset="0"/>
            </a:endParaRPr>
          </a:p>
        </p:txBody>
      </p:sp>
      <p:sp>
        <p:nvSpPr>
          <p:cNvPr id="9" name="Rectangle 2">
            <a:extLst>
              <a:ext uri="{FF2B5EF4-FFF2-40B4-BE49-F238E27FC236}">
                <a16:creationId xmlns:a16="http://schemas.microsoft.com/office/drawing/2014/main" id="{3B8B2822-2C04-BBB2-85C0-BFFD934566DA}"/>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Rectangle 9">
            <a:extLst>
              <a:ext uri="{FF2B5EF4-FFF2-40B4-BE49-F238E27FC236}">
                <a16:creationId xmlns:a16="http://schemas.microsoft.com/office/drawing/2014/main" id="{786DAC8A-BDB5-43F0-759E-62302C8D7A93}"/>
              </a:ext>
            </a:extLst>
          </p:cNvPr>
          <p:cNvSpPr/>
          <p:nvPr/>
        </p:nvSpPr>
        <p:spPr>
          <a:xfrm>
            <a:off x="4849890" y="4105996"/>
            <a:ext cx="3546764" cy="2078182"/>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0" lang="en-US" altLang="en-US" sz="1200" i="0" u="none" strike="noStrike" cap="none" normalizeH="0" baseline="0" dirty="0">
                <a:ln>
                  <a:noFill/>
                </a:ln>
                <a:solidFill>
                  <a:srgbClr val="000000"/>
                </a:solidFill>
                <a:effectLst/>
                <a:cs typeface="Times New Roman" panose="02020603050405020304" pitchFamily="18" charset="0"/>
              </a:rPr>
              <a:t>Username Employee Agent ID TEMP Email Address: Contact Number: New Existing Issue: New Remote Office based user: remote Is issue being raised behalf Self Hardware Software issue: Software Server Name: Problem: Cisco jabber performance issue</a:t>
            </a:r>
            <a:r>
              <a:rPr kumimoji="0" lang="en-US" altLang="en-US" sz="1200" i="0" u="none" strike="noStrike" cap="none" normalizeH="0" baseline="0" dirty="0">
                <a:ln>
                  <a:noFill/>
                </a:ln>
                <a:solidFill>
                  <a:schemeClr val="tx1"/>
                </a:solidFill>
                <a:effectLst/>
                <a:cs typeface="Times New Roman" panose="02020603050405020304" pitchFamily="18" charset="0"/>
              </a:rPr>
              <a:t> </a:t>
            </a:r>
          </a:p>
          <a:p>
            <a:pPr algn="ctr"/>
            <a:endParaRPr lang="en-IN" sz="1200" dirty="0"/>
          </a:p>
        </p:txBody>
      </p:sp>
      <p:sp>
        <p:nvSpPr>
          <p:cNvPr id="11" name="Rectangle 10">
            <a:extLst>
              <a:ext uri="{FF2B5EF4-FFF2-40B4-BE49-F238E27FC236}">
                <a16:creationId xmlns:a16="http://schemas.microsoft.com/office/drawing/2014/main" id="{96AB6EF2-2E79-6244-3A4F-51C978E43328}"/>
              </a:ext>
            </a:extLst>
          </p:cNvPr>
          <p:cNvSpPr/>
          <p:nvPr/>
        </p:nvSpPr>
        <p:spPr>
          <a:xfrm>
            <a:off x="9024903" y="4105996"/>
            <a:ext cx="1967132" cy="2078181"/>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0" lang="en-US" altLang="en-US" sz="1200" i="0" u="none" strike="noStrike" cap="none" normalizeH="0" baseline="0" dirty="0">
                <a:ln>
                  <a:noFill/>
                </a:ln>
                <a:solidFill>
                  <a:srgbClr val="000000"/>
                </a:solidFill>
                <a:effectLst/>
                <a:cs typeface="Times New Roman" panose="02020603050405020304" pitchFamily="18" charset="0"/>
              </a:rPr>
              <a:t>Cisco jabber performance issue</a:t>
            </a:r>
            <a:endParaRPr lang="en-IN" sz="1200" dirty="0"/>
          </a:p>
        </p:txBody>
      </p:sp>
      <p:sp>
        <p:nvSpPr>
          <p:cNvPr id="12" name="Arrow: Right 11">
            <a:extLst>
              <a:ext uri="{FF2B5EF4-FFF2-40B4-BE49-F238E27FC236}">
                <a16:creationId xmlns:a16="http://schemas.microsoft.com/office/drawing/2014/main" id="{D2626A7F-3B76-9FBA-21F5-FFB917494A4B}"/>
              </a:ext>
            </a:extLst>
          </p:cNvPr>
          <p:cNvSpPr/>
          <p:nvPr/>
        </p:nvSpPr>
        <p:spPr>
          <a:xfrm>
            <a:off x="4369510" y="5152933"/>
            <a:ext cx="401783" cy="287961"/>
          </a:xfrm>
          <a:prstGeom prst="rightArrow">
            <a:avLst/>
          </a:prstGeom>
          <a:solidFill>
            <a:srgbClr val="F1683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Arrow: Right 12">
            <a:extLst>
              <a:ext uri="{FF2B5EF4-FFF2-40B4-BE49-F238E27FC236}">
                <a16:creationId xmlns:a16="http://schemas.microsoft.com/office/drawing/2014/main" id="{9C28349B-F169-A330-6969-C27E8C57A399}"/>
              </a:ext>
            </a:extLst>
          </p:cNvPr>
          <p:cNvSpPr/>
          <p:nvPr/>
        </p:nvSpPr>
        <p:spPr>
          <a:xfrm>
            <a:off x="8475251" y="5105399"/>
            <a:ext cx="471055" cy="311728"/>
          </a:xfrm>
          <a:prstGeom prst="rightArrow">
            <a:avLst/>
          </a:prstGeom>
          <a:solidFill>
            <a:srgbClr val="F1683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Box 13">
            <a:extLst>
              <a:ext uri="{FF2B5EF4-FFF2-40B4-BE49-F238E27FC236}">
                <a16:creationId xmlns:a16="http://schemas.microsoft.com/office/drawing/2014/main" id="{D5636B3E-79D5-8C8E-79C1-1D8812043CF0}"/>
              </a:ext>
            </a:extLst>
          </p:cNvPr>
          <p:cNvSpPr txBox="1"/>
          <p:nvPr/>
        </p:nvSpPr>
        <p:spPr>
          <a:xfrm>
            <a:off x="1180248" y="6273157"/>
            <a:ext cx="2078182" cy="276999"/>
          </a:xfrm>
          <a:prstGeom prst="rect">
            <a:avLst/>
          </a:prstGeom>
          <a:noFill/>
        </p:spPr>
        <p:txBody>
          <a:bodyPr wrap="square" rtlCol="0">
            <a:spAutoFit/>
          </a:bodyPr>
          <a:lstStyle/>
          <a:p>
            <a:r>
              <a:rPr lang="en-IN" sz="1200" dirty="0">
                <a:latin typeface="Avenir Next Medium" panose="020B0503020202020204" pitchFamily="34" charset="0"/>
              </a:rPr>
              <a:t>Description from Raw Data</a:t>
            </a:r>
          </a:p>
        </p:txBody>
      </p:sp>
      <p:sp>
        <p:nvSpPr>
          <p:cNvPr id="16" name="TextBox 15">
            <a:extLst>
              <a:ext uri="{FF2B5EF4-FFF2-40B4-BE49-F238E27FC236}">
                <a16:creationId xmlns:a16="http://schemas.microsoft.com/office/drawing/2014/main" id="{E0BF8852-5CC7-BAF6-D720-AFE265A0AABB}"/>
              </a:ext>
            </a:extLst>
          </p:cNvPr>
          <p:cNvSpPr txBox="1"/>
          <p:nvPr/>
        </p:nvSpPr>
        <p:spPr>
          <a:xfrm>
            <a:off x="5779933" y="6273156"/>
            <a:ext cx="1734340" cy="276999"/>
          </a:xfrm>
          <a:prstGeom prst="rect">
            <a:avLst/>
          </a:prstGeom>
          <a:noFill/>
        </p:spPr>
        <p:txBody>
          <a:bodyPr wrap="square" rtlCol="0">
            <a:spAutoFit/>
          </a:bodyPr>
          <a:lstStyle/>
          <a:p>
            <a:r>
              <a:rPr lang="en-IN" sz="1200" dirty="0">
                <a:latin typeface="Avenir Next Medium" panose="020B0503020202020204" pitchFamily="34" charset="0"/>
              </a:rPr>
              <a:t>Cleaned Description</a:t>
            </a:r>
          </a:p>
        </p:txBody>
      </p:sp>
      <p:sp>
        <p:nvSpPr>
          <p:cNvPr id="17" name="TextBox 16">
            <a:extLst>
              <a:ext uri="{FF2B5EF4-FFF2-40B4-BE49-F238E27FC236}">
                <a16:creationId xmlns:a16="http://schemas.microsoft.com/office/drawing/2014/main" id="{F654F187-A74C-F5F0-EEA8-664BFB87C862}"/>
              </a:ext>
            </a:extLst>
          </p:cNvPr>
          <p:cNvSpPr txBox="1"/>
          <p:nvPr/>
        </p:nvSpPr>
        <p:spPr>
          <a:xfrm>
            <a:off x="8985292" y="6273156"/>
            <a:ext cx="2100968" cy="276999"/>
          </a:xfrm>
          <a:prstGeom prst="rect">
            <a:avLst/>
          </a:prstGeom>
          <a:noFill/>
        </p:spPr>
        <p:txBody>
          <a:bodyPr wrap="square" rtlCol="0">
            <a:spAutoFit/>
          </a:bodyPr>
          <a:lstStyle/>
          <a:p>
            <a:r>
              <a:rPr lang="en-IN" sz="1200" dirty="0">
                <a:latin typeface="Avenir Next Medium" panose="020B0503020202020204" pitchFamily="34" charset="0"/>
              </a:rPr>
              <a:t>Cleaned Short Description</a:t>
            </a:r>
          </a:p>
        </p:txBody>
      </p:sp>
      <p:pic>
        <p:nvPicPr>
          <p:cNvPr id="9220" name="Picture 4" descr="Regex Tutorial | Regular Expression - Javatpoint">
            <a:extLst>
              <a:ext uri="{FF2B5EF4-FFF2-40B4-BE49-F238E27FC236}">
                <a16:creationId xmlns:a16="http://schemas.microsoft.com/office/drawing/2014/main" id="{8A06D1DB-4741-7272-19FF-A0AEDB38D8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691" y="799771"/>
            <a:ext cx="721401" cy="721401"/>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Anaconda | Open Source">
            <a:extLst>
              <a:ext uri="{FF2B5EF4-FFF2-40B4-BE49-F238E27FC236}">
                <a16:creationId xmlns:a16="http://schemas.microsoft.com/office/drawing/2014/main" id="{F759BA07-A5F9-DD99-6A97-6A1248FF91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7103" y="1002342"/>
            <a:ext cx="1085215" cy="352557"/>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The Stanford Natural Language Processing Group">
            <a:extLst>
              <a:ext uri="{FF2B5EF4-FFF2-40B4-BE49-F238E27FC236}">
                <a16:creationId xmlns:a16="http://schemas.microsoft.com/office/drawing/2014/main" id="{E32151BB-872F-2588-3D83-055CE6592A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9078" y="517850"/>
            <a:ext cx="1285242" cy="1285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513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DE84B-4E3A-C367-E4E9-C85190DBC518}"/>
              </a:ext>
            </a:extLst>
          </p:cNvPr>
          <p:cNvSpPr>
            <a:spLocks noGrp="1"/>
          </p:cNvSpPr>
          <p:nvPr>
            <p:ph type="title"/>
          </p:nvPr>
        </p:nvSpPr>
        <p:spPr>
          <a:xfrm>
            <a:off x="581983" y="1013380"/>
            <a:ext cx="3075617" cy="399783"/>
          </a:xfrm>
        </p:spPr>
        <p:txBody>
          <a:bodyPr/>
          <a:lstStyle/>
          <a:p>
            <a:r>
              <a:rPr lang="en-IN" sz="1800" dirty="0">
                <a:solidFill>
                  <a:srgbClr val="1F245C"/>
                </a:solidFill>
                <a:effectLst/>
                <a:latin typeface="Avenir Next Medium" panose="020B0503020202020204" pitchFamily="34" charset="0"/>
                <a:ea typeface="Times New Roman" panose="02020603050405020304" pitchFamily="18" charset="0"/>
                <a:cs typeface="Calibri" panose="020F0502020204030204" pitchFamily="34" charset="0"/>
              </a:rPr>
              <a:t>Is Change request? </a:t>
            </a:r>
            <a:endParaRPr lang="en-IN" sz="1800" dirty="0">
              <a:solidFill>
                <a:srgbClr val="1F245C"/>
              </a:solidFill>
              <a:latin typeface="Avenir Next Medium" panose="020B050302020202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9D6DF10E-5D69-D1EA-4D61-FF1ECE6931E0}"/>
              </a:ext>
            </a:extLst>
          </p:cNvPr>
          <p:cNvSpPr txBox="1"/>
          <p:nvPr/>
        </p:nvSpPr>
        <p:spPr>
          <a:xfrm>
            <a:off x="785629" y="1625249"/>
            <a:ext cx="9434945" cy="1248803"/>
          </a:xfrm>
          <a:prstGeom prst="rect">
            <a:avLst/>
          </a:prstGeom>
          <a:noFill/>
        </p:spPr>
        <p:txBody>
          <a:bodyPr wrap="square">
            <a:spAutoFit/>
          </a:bodyPr>
          <a:lstStyle/>
          <a:p>
            <a:pPr marL="342900" lvl="0" indent="-342900">
              <a:lnSpc>
                <a:spcPct val="107000"/>
              </a:lnSpc>
              <a:spcAft>
                <a:spcPts val="800"/>
              </a:spcAft>
              <a:buSzPts val="1000"/>
              <a:buFont typeface="Symbol" panose="05050102010706020507" pitchFamily="18" charset="2"/>
              <a:buChar char=""/>
              <a:tabLst>
                <a:tab pos="457200" algn="l"/>
              </a:tabLst>
            </a:pPr>
            <a:r>
              <a:rPr lang="en-IN" sz="1600" dirty="0">
                <a:solidFill>
                  <a:srgbClr val="1F245C"/>
                </a:solidFill>
                <a:effectLst/>
                <a:latin typeface="Avenir Next" panose="020B0503020202020204" pitchFamily="34" charset="0"/>
                <a:ea typeface="Times New Roman" panose="02020603050405020304" pitchFamily="18" charset="0"/>
                <a:cs typeface="Times New Roman" panose="02020603050405020304" pitchFamily="18" charset="0"/>
              </a:rPr>
              <a:t>Collected set of keywords related to change request and  identified incident tickets by passing set of keywords on description column.</a:t>
            </a:r>
            <a:endParaRPr lang="en-IN" sz="1600" dirty="0">
              <a:solidFill>
                <a:srgbClr val="1F245C"/>
              </a:solidFill>
              <a:effectLst/>
              <a:latin typeface="Avenir Next" panose="020B05030202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IN" sz="1600" dirty="0">
                <a:solidFill>
                  <a:srgbClr val="F16834"/>
                </a:solidFill>
                <a:effectLst/>
                <a:latin typeface="Avenir Next" panose="020B0503020202020204" pitchFamily="34" charset="0"/>
                <a:ea typeface="Times New Roman" panose="02020603050405020304" pitchFamily="18" charset="0"/>
                <a:cs typeface="Times New Roman" panose="02020603050405020304" pitchFamily="18" charset="0"/>
              </a:rPr>
              <a:t>Vectorizing the change request tickets by providing vocabulary which consists of change request keywords. </a:t>
            </a:r>
            <a:endParaRPr lang="en-IN" sz="1600" dirty="0">
              <a:solidFill>
                <a:srgbClr val="F16834"/>
              </a:solidFill>
              <a:effectLst/>
              <a:latin typeface="Avenir Next" panose="020B0503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37493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E193-90E9-1887-F2FA-9E5A696550A5}"/>
              </a:ext>
            </a:extLst>
          </p:cNvPr>
          <p:cNvSpPr>
            <a:spLocks noGrp="1"/>
          </p:cNvSpPr>
          <p:nvPr>
            <p:ph type="title"/>
          </p:nvPr>
        </p:nvSpPr>
        <p:spPr>
          <a:xfrm>
            <a:off x="415637" y="271532"/>
            <a:ext cx="1584060" cy="353990"/>
          </a:xfrm>
        </p:spPr>
        <p:txBody>
          <a:bodyPr/>
          <a:lstStyle/>
          <a:p>
            <a:pPr algn="l"/>
            <a:r>
              <a:rPr lang="en-IN" sz="1800" dirty="0">
                <a:solidFill>
                  <a:srgbClr val="1F245C"/>
                </a:solidFill>
                <a:latin typeface="Avenir Next Medium" panose="020B0503020202020204" pitchFamily="34" charset="0"/>
                <a:cs typeface="Calibri" panose="020F0502020204030204" pitchFamily="34" charset="0"/>
              </a:rPr>
              <a:t>Clustering </a:t>
            </a:r>
          </a:p>
        </p:txBody>
      </p:sp>
      <p:sp>
        <p:nvSpPr>
          <p:cNvPr id="4" name="TextBox 3">
            <a:extLst>
              <a:ext uri="{FF2B5EF4-FFF2-40B4-BE49-F238E27FC236}">
                <a16:creationId xmlns:a16="http://schemas.microsoft.com/office/drawing/2014/main" id="{842C8C9E-E1CE-A5EF-FB94-79D35863C978}"/>
              </a:ext>
            </a:extLst>
          </p:cNvPr>
          <p:cNvSpPr txBox="1"/>
          <p:nvPr/>
        </p:nvSpPr>
        <p:spPr>
          <a:xfrm>
            <a:off x="415637" y="866370"/>
            <a:ext cx="11360728" cy="619272"/>
          </a:xfrm>
          <a:prstGeom prst="rect">
            <a:avLst/>
          </a:prstGeom>
          <a:noFill/>
        </p:spPr>
        <p:txBody>
          <a:bodyPr wrap="square">
            <a:spAutoFit/>
          </a:bodyPr>
          <a:lstStyle/>
          <a:p>
            <a:pPr lvl="0">
              <a:lnSpc>
                <a:spcPct val="107000"/>
              </a:lnSpc>
              <a:spcAft>
                <a:spcPts val="800"/>
              </a:spcAft>
              <a:buSzPts val="1000"/>
              <a:tabLst>
                <a:tab pos="457200" algn="l"/>
              </a:tabLst>
            </a:pPr>
            <a:r>
              <a:rPr lang="en-IN" sz="1600" dirty="0">
                <a:solidFill>
                  <a:srgbClr val="1F245C"/>
                </a:solidFill>
                <a:effectLst/>
                <a:latin typeface="Avenir Next" panose="020B0503020202020204" pitchFamily="34" charset="0"/>
                <a:ea typeface="Times New Roman" panose="02020603050405020304" pitchFamily="18" charset="0"/>
                <a:cs typeface="Times New Roman" panose="02020603050405020304" pitchFamily="18" charset="0"/>
              </a:rPr>
              <a:t>Grouping the change request tickets to get its incident types with K-Mean clustering algorithms and chosen number of clusters 4 using Elbow plot. </a:t>
            </a:r>
            <a:endParaRPr lang="en-IN" sz="1400" dirty="0">
              <a:solidFill>
                <a:srgbClr val="1F245C"/>
              </a:solidFill>
              <a:effectLst/>
              <a:latin typeface="Avenir Next" panose="020B0503020202020204" pitchFamily="34" charset="0"/>
              <a:ea typeface="Calibri" panose="020F0502020204030204" pitchFamily="34" charset="0"/>
              <a:cs typeface="Times New Roman" panose="02020603050405020304" pitchFamily="18" charset="0"/>
            </a:endParaRPr>
          </a:p>
        </p:txBody>
      </p:sp>
      <p:pic>
        <p:nvPicPr>
          <p:cNvPr id="5122" name="Picture 2" descr="image">
            <a:extLst>
              <a:ext uri="{FF2B5EF4-FFF2-40B4-BE49-F238E27FC236}">
                <a16:creationId xmlns:a16="http://schemas.microsoft.com/office/drawing/2014/main" id="{623F446D-8991-E6F2-C218-2099B3E9E0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2343" y="1866412"/>
            <a:ext cx="6928137" cy="378277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a:extLst>
              <a:ext uri="{FF2B5EF4-FFF2-40B4-BE49-F238E27FC236}">
                <a16:creationId xmlns:a16="http://schemas.microsoft.com/office/drawing/2014/main" id="{79A1CD48-654B-0EEE-8F2D-21B2454552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082" y="1961245"/>
            <a:ext cx="4043261" cy="347105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433A509-5D46-4FDA-B1F9-44C7E03A0944}"/>
              </a:ext>
            </a:extLst>
          </p:cNvPr>
          <p:cNvSpPr txBox="1">
            <a:spLocks noGrp="1" noRot="1" noMove="1" noResize="1" noEditPoints="1" noAdjustHandles="1" noChangeArrowheads="1" noChangeShapeType="1"/>
          </p:cNvSpPr>
          <p:nvPr/>
        </p:nvSpPr>
        <p:spPr>
          <a:xfrm>
            <a:off x="4128655" y="5846619"/>
            <a:ext cx="6733309" cy="584775"/>
          </a:xfrm>
          <a:prstGeom prst="rect">
            <a:avLst/>
          </a:prstGeom>
          <a:noFill/>
        </p:spPr>
        <p:txBody>
          <a:bodyPr wrap="square" rtlCol="0">
            <a:spAutoFit/>
          </a:bodyPr>
          <a:lstStyle/>
          <a:p>
            <a:r>
              <a:rPr lang="en-IN" sz="1600" dirty="0">
                <a:latin typeface="Avenir Next" panose="020B0503020202020204" pitchFamily="34" charset="0"/>
              </a:rPr>
              <a:t>Cloud Maintenance Incident          Network Incident                                      Capacity Incident                              User Service Request Incident</a:t>
            </a:r>
          </a:p>
        </p:txBody>
      </p:sp>
      <p:sp>
        <p:nvSpPr>
          <p:cNvPr id="7" name="Oval 6">
            <a:extLst>
              <a:ext uri="{FF2B5EF4-FFF2-40B4-BE49-F238E27FC236}">
                <a16:creationId xmlns:a16="http://schemas.microsoft.com/office/drawing/2014/main" id="{47CAA054-26C2-765B-70D7-754AFF251D80}"/>
              </a:ext>
            </a:extLst>
          </p:cNvPr>
          <p:cNvSpPr/>
          <p:nvPr/>
        </p:nvSpPr>
        <p:spPr>
          <a:xfrm>
            <a:off x="3955473" y="5907902"/>
            <a:ext cx="180109" cy="165138"/>
          </a:xfrm>
          <a:prstGeom prst="ellipse">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D2770004-B246-266F-872A-7A5CF7AE5392}"/>
              </a:ext>
            </a:extLst>
          </p:cNvPr>
          <p:cNvSpPr/>
          <p:nvPr/>
        </p:nvSpPr>
        <p:spPr>
          <a:xfrm>
            <a:off x="3955472" y="6183638"/>
            <a:ext cx="180109" cy="165138"/>
          </a:xfrm>
          <a:prstGeom prst="ellipse">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BDFF2CB4-9114-9B8D-734D-B2F3F7563DE1}"/>
              </a:ext>
            </a:extLst>
          </p:cNvPr>
          <p:cNvSpPr/>
          <p:nvPr/>
        </p:nvSpPr>
        <p:spPr>
          <a:xfrm>
            <a:off x="6740307" y="5968391"/>
            <a:ext cx="180109" cy="16513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6D709F92-A5C0-6336-5511-140E2CEEFBE8}"/>
              </a:ext>
            </a:extLst>
          </p:cNvPr>
          <p:cNvSpPr/>
          <p:nvPr/>
        </p:nvSpPr>
        <p:spPr>
          <a:xfrm>
            <a:off x="6740307" y="6172732"/>
            <a:ext cx="180109" cy="165138"/>
          </a:xfrm>
          <a:prstGeom prst="ellipse">
            <a:avLst/>
          </a:prstGeom>
          <a:solidFill>
            <a:srgbClr val="FF99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298197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ustom 3">
      <a:dk1>
        <a:srgbClr val="000000"/>
      </a:dk1>
      <a:lt1>
        <a:srgbClr val="FFFFFF"/>
      </a:lt1>
      <a:dk2>
        <a:srgbClr val="646464"/>
      </a:dk2>
      <a:lt2>
        <a:srgbClr val="646464"/>
      </a:lt2>
      <a:accent1>
        <a:srgbClr val="EDEDED"/>
      </a:accent1>
      <a:accent2>
        <a:srgbClr val="FF6700"/>
      </a:accent2>
      <a:accent3>
        <a:srgbClr val="003E7C"/>
      </a:accent3>
      <a:accent4>
        <a:srgbClr val="60CDDF"/>
      </a:accent4>
      <a:accent5>
        <a:srgbClr val="646464"/>
      </a:accent5>
      <a:accent6>
        <a:srgbClr val="FF6700"/>
      </a:accent6>
      <a:hlink>
        <a:srgbClr val="003E7C"/>
      </a:hlink>
      <a:folHlink>
        <a:srgbClr val="003E7C"/>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2DE7BED-C7E2-44C4-93E3-48CC6C871044}" vid="{6E11A342-6A16-41FD-A83D-004B1EEB220F}"/>
    </a:ext>
  </a:extLst>
</a:theme>
</file>

<file path=ppt/theme/theme2.xml><?xml version="1.0" encoding="utf-8"?>
<a:theme xmlns:a="http://schemas.openxmlformats.org/drawingml/2006/main" name="CR_new 03_2020">
  <a:themeElements>
    <a:clrScheme name="Custom 3">
      <a:dk1>
        <a:sysClr val="windowText" lastClr="000000"/>
      </a:dk1>
      <a:lt1>
        <a:sysClr val="window" lastClr="FFFFFF"/>
      </a:lt1>
      <a:dk2>
        <a:srgbClr val="646464"/>
      </a:dk2>
      <a:lt2>
        <a:srgbClr val="646464"/>
      </a:lt2>
      <a:accent1>
        <a:srgbClr val="EDEDED"/>
      </a:accent1>
      <a:accent2>
        <a:srgbClr val="FF6700"/>
      </a:accent2>
      <a:accent3>
        <a:srgbClr val="003E7C"/>
      </a:accent3>
      <a:accent4>
        <a:srgbClr val="60CDDF"/>
      </a:accent4>
      <a:accent5>
        <a:srgbClr val="646464"/>
      </a:accent5>
      <a:accent6>
        <a:srgbClr val="FF6700"/>
      </a:accent6>
      <a:hlink>
        <a:srgbClr val="003E7C"/>
      </a:hlink>
      <a:folHlink>
        <a:srgbClr val="003E7C"/>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R_new 03_2020">
  <a:themeElements>
    <a:clrScheme name="Custom 3">
      <a:dk1>
        <a:sysClr val="windowText" lastClr="000000"/>
      </a:dk1>
      <a:lt1>
        <a:sysClr val="window" lastClr="FFFFFF"/>
      </a:lt1>
      <a:dk2>
        <a:srgbClr val="646464"/>
      </a:dk2>
      <a:lt2>
        <a:srgbClr val="646464"/>
      </a:lt2>
      <a:accent1>
        <a:srgbClr val="EDEDED"/>
      </a:accent1>
      <a:accent2>
        <a:srgbClr val="FF6700"/>
      </a:accent2>
      <a:accent3>
        <a:srgbClr val="003E7C"/>
      </a:accent3>
      <a:accent4>
        <a:srgbClr val="60CDDF"/>
      </a:accent4>
      <a:accent5>
        <a:srgbClr val="646464"/>
      </a:accent5>
      <a:accent6>
        <a:srgbClr val="FF6700"/>
      </a:accent6>
      <a:hlink>
        <a:srgbClr val="003E7C"/>
      </a:hlink>
      <a:folHlink>
        <a:srgbClr val="003E7C"/>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 Id="rId4" Type="http://schemas.microsoft.com/office/2011/relationships/webextension" Target="webextension4.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 dockstate="right" visibility="0" width="525" row="1">
    <wetp:webextensionref xmlns:r="http://schemas.openxmlformats.org/officeDocument/2006/relationships" r:id="rId2"/>
  </wetp:taskpane>
  <wetp:taskpane dockstate="right" visibility="0" width="525" row="1">
    <wetp:webextensionref xmlns:r="http://schemas.openxmlformats.org/officeDocument/2006/relationships" r:id="rId3"/>
  </wetp:taskpane>
  <wetp:taskpane dockstate="right" visibility="0" width="525" row="2">
    <wetp:webextensionref xmlns:r="http://schemas.openxmlformats.org/officeDocument/2006/relationships" r:id="rId4"/>
  </wetp:taskpane>
</wetp:taskpanes>
</file>

<file path=ppt/webextensions/webextension1.xml><?xml version="1.0" encoding="utf-8"?>
<we:webextension xmlns:we="http://schemas.microsoft.com/office/webextensions/webextension/2010/11" id="{72E74B96-1FD6-452B-9532-7E262ECB73C1}">
  <we:reference id="wa200001409" version="1.0.0.3" store="en-US" storeType="OMEX"/>
  <we:alternateReferences>
    <we:reference id="wa200001409" version="1.0.0.3" store="WA200001409"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F6D0990B-F5FB-4EFF-B4F4-5FCCE5B4F5FB}">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B62FAEF1-FFEE-49C3-B6B8-81E5788C7DA5}">
  <we:reference id="wa104380121" version="2.0.0.0" store="en-US" storeType="OMEX"/>
  <we:alternateReferences>
    <we:reference id="wa104380121" version="2.0.0.0" store="WA104380121" storeType="OMEX"/>
  </we:alternateReferences>
  <we:properties/>
  <we:bindings/>
  <we:snapshot xmlns:r="http://schemas.openxmlformats.org/officeDocument/2006/relationships"/>
</we:webextension>
</file>

<file path=ppt/webextensions/webextension4.xml><?xml version="1.0" encoding="utf-8"?>
<we:webextension xmlns:we="http://schemas.microsoft.com/office/webextensions/webextension/2010/11" id="{CA3EB15B-264A-4E03-AD39-1724250DDE93}">
  <we:reference id="wa104381139" version="1.0.0.0" store="en-US" storeType="OMEX"/>
  <we:alternateReferences>
    <we:reference id="wa104381139" version="1.0.0.0" store="WA10438113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0AA1FC62A61E40911E2B12493815BF" ma:contentTypeVersion="15" ma:contentTypeDescription="Create a new document." ma:contentTypeScope="" ma:versionID="69039c0f8af9d8d040020be06646be34">
  <xsd:schema xmlns:xsd="http://www.w3.org/2001/XMLSchema" xmlns:xs="http://www.w3.org/2001/XMLSchema" xmlns:p="http://schemas.microsoft.com/office/2006/metadata/properties" xmlns:ns2="fa0c73c6-c211-4e94-878f-f86b9221ca4e" xmlns:ns3="023be424-916a-4b6e-92af-2537c0139a94" targetNamespace="http://schemas.microsoft.com/office/2006/metadata/properties" ma:root="true" ma:fieldsID="a50c967a07fc0fc570f0b4bbfec90611" ns2:_="" ns3:_="">
    <xsd:import namespace="fa0c73c6-c211-4e94-878f-f86b9221ca4e"/>
    <xsd:import namespace="023be424-916a-4b6e-92af-2537c0139a94"/>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0c73c6-c211-4e94-878f-f86b9221ca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8732ca04-15e0-4d9b-b838-640ef986f5f0" ma:termSetId="09814cd3-568e-fe90-9814-8d621ff8fb84" ma:anchorId="fba54fb3-c3e1-fe81-a776-ca4b69148c4d" ma:open="true" ma:isKeyword="false">
      <xsd:complexType>
        <xsd:sequence>
          <xsd:element ref="pc:Terms" minOccurs="0" maxOccurs="1"/>
        </xsd:sequence>
      </xsd:complex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3be424-916a-4b6e-92af-2537c0139a9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b44d307-209a-47d3-ab80-373d94822d0d}" ma:internalName="TaxCatchAll" ma:showField="CatchAllData" ma:web="023be424-916a-4b6e-92af-2537c0139a9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23be424-916a-4b6e-92af-2537c0139a94" xsi:nil="true"/>
    <lcf76f155ced4ddcb4097134ff3c332f xmlns="fa0c73c6-c211-4e94-878f-f86b9221ca4e">
      <Terms xmlns="http://schemas.microsoft.com/office/infopath/2007/PartnerControls"/>
    </lcf76f155ced4ddcb4097134ff3c332f>
    <SharedWithUsers xmlns="023be424-916a-4b6e-92af-2537c0139a94">
      <UserInfo>
        <DisplayName>Anwar Hussain</DisplayName>
        <AccountId>12</AccountId>
        <AccountType/>
      </UserInfo>
      <UserInfo>
        <DisplayName>Reet Sibia Gwari</DisplayName>
        <AccountId>3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468023-A9C2-491D-8BD4-025A4593F77D}">
  <ds:schemaRefs>
    <ds:schemaRef ds:uri="023be424-916a-4b6e-92af-2537c0139a94"/>
    <ds:schemaRef ds:uri="fa0c73c6-c211-4e94-878f-f86b9221ca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5F02C5-759E-4C76-927F-62ACCA7B2128}">
  <ds:schemaRefs>
    <ds:schemaRef ds:uri="023be424-916a-4b6e-92af-2537c0139a94"/>
    <ds:schemaRef ds:uri="81c37be9-614a-485e-86dd-44cea0d3b8af"/>
    <ds:schemaRef ds:uri="d232eed1-14f7-4f84-8ff2-804cd6d6e992"/>
    <ds:schemaRef ds:uri="fa0c73c6-c211-4e94-878f-f86b9221ca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BA9DA0D-7FB3-45E4-8D13-940EEA545F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1</Template>
  <TotalTime>14854</TotalTime>
  <Words>3371</Words>
  <Application>Microsoft Office PowerPoint</Application>
  <PresentationFormat>Widescreen</PresentationFormat>
  <Paragraphs>474</Paragraphs>
  <Slides>20</Slides>
  <Notes>16</Notes>
  <HiddenSlides>3</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4" baseType="lpstr">
      <vt:lpstr>-apple-system</vt:lpstr>
      <vt:lpstr>Arial</vt:lpstr>
      <vt:lpstr>Avenir Next</vt:lpstr>
      <vt:lpstr>Avenir Next Medium</vt:lpstr>
      <vt:lpstr>Calibri</vt:lpstr>
      <vt:lpstr>Calibri Light</vt:lpstr>
      <vt:lpstr>Consolas</vt:lpstr>
      <vt:lpstr>Courier New</vt:lpstr>
      <vt:lpstr>Symbol</vt:lpstr>
      <vt:lpstr>Wingdings</vt:lpstr>
      <vt:lpstr>Theme1</vt:lpstr>
      <vt:lpstr>CR_new 03_2020</vt:lpstr>
      <vt:lpstr>CR_new 03_2020</vt:lpstr>
      <vt:lpstr>think-cell Slide</vt:lpstr>
      <vt:lpstr>PowerPoint Presentation</vt:lpstr>
      <vt:lpstr>PREDICTIVE Incident MANAGEMENT</vt:lpstr>
      <vt:lpstr>PREDICTIVE Incident MANAGEMENT</vt:lpstr>
      <vt:lpstr>PowerPoint Presentation</vt:lpstr>
      <vt:lpstr>RAW Data </vt:lpstr>
      <vt:lpstr>PowerPoint Presentation</vt:lpstr>
      <vt:lpstr>Data Pre-processing </vt:lpstr>
      <vt:lpstr>Is Change request? </vt:lpstr>
      <vt:lpstr>Clustering </vt:lpstr>
      <vt:lpstr>Models Result</vt:lpstr>
      <vt:lpstr>Is Environmental Change? </vt:lpstr>
      <vt:lpstr>Clustering </vt:lpstr>
      <vt:lpstr>Models Result </vt:lpstr>
      <vt:lpstr>Predictions Results </vt:lpstr>
      <vt:lpstr>Development in Progress</vt:lpstr>
      <vt:lpstr>PREDICTIVE Incident MANAGEMENT</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war Hussain</dc:creator>
  <cp:lastModifiedBy>Nishikant Bhaskar Surwade</cp:lastModifiedBy>
  <cp:revision>278</cp:revision>
  <dcterms:created xsi:type="dcterms:W3CDTF">2021-08-23T07:13:49Z</dcterms:created>
  <dcterms:modified xsi:type="dcterms:W3CDTF">2022-08-19T16:2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F90AA1FC62A61E40911E2B12493815BF</vt:lpwstr>
  </property>
</Properties>
</file>